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theme/themeOverride3.xml" ContentType="application/vnd.openxmlformats-officedocument.themeOverride+xml"/>
  <Override PartName="/ppt/drawings/drawing2.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drawings/drawing3.xml" ContentType="application/vnd.openxmlformats-officedocument.drawingml.chartshapes+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theme/themeOverride5.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theme/themeOverride6.xml" ContentType="application/vnd.openxmlformats-officedocument.themeOverride+xml"/>
  <Override PartName="/ppt/drawings/drawing4.xml" ContentType="application/vnd.openxmlformats-officedocument.drawingml.chartshapes+xml"/>
  <Override PartName="/ppt/charts/chart9.xml" ContentType="application/vnd.openxmlformats-officedocument.drawingml.chart+xml"/>
  <Override PartName="/ppt/theme/themeOverride7.xml" ContentType="application/vnd.openxmlformats-officedocument.themeOverride+xml"/>
  <Override PartName="/ppt/drawings/drawing5.xml" ContentType="application/vnd.openxmlformats-officedocument.drawingml.chartshape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6.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0"/>
  </p:sldMasterIdLst>
  <p:notesMasterIdLst>
    <p:notesMasterId r:id="rId19"/>
  </p:notesMasterIdLst>
  <p:sldIdLst>
    <p:sldId id="269" r:id="rId11"/>
    <p:sldId id="287" r:id="rId12"/>
    <p:sldId id="289" r:id="rId13"/>
    <p:sldId id="288" r:id="rId14"/>
    <p:sldId id="275" r:id="rId15"/>
    <p:sldId id="290" r:id="rId16"/>
    <p:sldId id="286" r:id="rId17"/>
    <p:sldId id="283" r:id="rId18"/>
  </p:sldIdLst>
  <p:sldSz cx="12192000" cy="6858000"/>
  <p:notesSz cx="7102475" cy="1023461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043A"/>
    <a:srgbClr val="00B0F0"/>
    <a:srgbClr val="025590"/>
    <a:srgbClr val="0C1460"/>
    <a:srgbClr val="0264A6"/>
    <a:srgbClr val="F92838"/>
    <a:srgbClr val="FF4F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27" autoAdjust="0"/>
    <p:restoredTop sz="88080" autoAdjust="0"/>
  </p:normalViewPr>
  <p:slideViewPr>
    <p:cSldViewPr snapToGrid="0">
      <p:cViewPr varScale="1">
        <p:scale>
          <a:sx n="72" d="100"/>
          <a:sy n="72" d="100"/>
        </p:scale>
        <p:origin x="1147"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3.xml"/><Relationship Id="rId18" Type="http://schemas.openxmlformats.org/officeDocument/2006/relationships/slide" Target="slides/slide8.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slide" Target="slides/slide2.xml"/><Relationship Id="rId17" Type="http://schemas.openxmlformats.org/officeDocument/2006/relationships/slide" Target="slides/slide7.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1.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I:\Dropbox%20(Personal)\Energy\&#1062;&#1069;&#1055;\2022-10\external-datanovember.xls"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D:\data\MTSDS133FMS.xls" TargetMode="External"/><Relationship Id="rId2" Type="http://schemas.microsoft.com/office/2011/relationships/chartColorStyle" Target="colors3.xml"/><Relationship Id="rId1" Type="http://schemas.microsoft.com/office/2011/relationships/chartStyle" Target="style3.xml"/></Relationships>
</file>

<file path=ppt/charts/_rels/chart11.xml.rels><?xml version="1.0" encoding="UTF-8" standalone="yes"?>
<Relationships xmlns="http://schemas.openxmlformats.org/package/2006/relationships"><Relationship Id="rId3" Type="http://schemas.openxmlformats.org/officeDocument/2006/relationships/oleObject" Target="file:///D:\Dropbox%20(Personal)\Energy\TTF\TR-finance-data.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6.xml"/></Relationships>
</file>

<file path=ppt/charts/_rels/chart2.xml.rels><?xml version="1.0" encoding="UTF-8" standalone="yes"?>
<Relationships xmlns="http://schemas.openxmlformats.org/package/2006/relationships"><Relationship Id="rId2" Type="http://schemas.openxmlformats.org/officeDocument/2006/relationships/oleObject" Target="file:///D:\Dropbox%20(&#1051;&#1080;&#1095;&#1085;&#1099;&#1081;)\Energy\TTF\TR-finance-data.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D:\Dropbox%20(Personal)\Energy\TTF\TR-finance-data.xlsx"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D:\Dropbox%20(Personal)\Energy\TTF\TR-finance-data.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D:\Dropbox%20(Personal)\Energy\TTF\TR-TTF-data.xlsx"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3" Type="http://schemas.openxmlformats.org/officeDocument/2006/relationships/oleObject" Target="file:///D:\Dropbox%20(Personal)\Energy\TTF\TR-TTF-data.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2" Type="http://schemas.openxmlformats.org/officeDocument/2006/relationships/oleObject" Target="file:///D:\data\Gas%20tracker%20update%202023-11-21\dail.xlsx" TargetMode="External"/><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file:///D:\Dropbox%20(Personal)\Energy\TTF\TR-finance-data.xlsx" TargetMode="External"/><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file:///D:\Dropbox%20(Personal)\Energy\TTF\TR-finance-data.xlsx" TargetMode="External"/><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64216972878389E-2"/>
          <c:y val="5.0925925925925923E-2"/>
          <c:w val="0.88326924759405079"/>
          <c:h val="0.84462876830318701"/>
        </c:manualLayout>
      </c:layout>
      <c:lineChart>
        <c:grouping val="standard"/>
        <c:varyColors val="0"/>
        <c:ser>
          <c:idx val="0"/>
          <c:order val="0"/>
          <c:tx>
            <c:v>Fuel</c:v>
          </c:tx>
          <c:spPr>
            <a:ln w="28575" cap="rnd">
              <a:solidFill>
                <a:srgbClr val="025590"/>
              </a:solidFill>
              <a:round/>
            </a:ln>
            <a:effectLst/>
          </c:spPr>
          <c:marker>
            <c:symbol val="none"/>
          </c:marker>
          <c:cat>
            <c:numRef>
              <c:f>'[external-datanovember.xls]External'!$A$29:$A$400</c:f>
              <c:numCache>
                <c:formatCode>General</c:formatCode>
                <c:ptCount val="372"/>
                <c:pt idx="0">
                  <c:v>1992</c:v>
                </c:pt>
                <c:pt idx="12">
                  <c:v>1993</c:v>
                </c:pt>
                <c:pt idx="24">
                  <c:v>1994</c:v>
                </c:pt>
                <c:pt idx="36">
                  <c:v>1995</c:v>
                </c:pt>
                <c:pt idx="48">
                  <c:v>1996</c:v>
                </c:pt>
                <c:pt idx="60">
                  <c:v>1997</c:v>
                </c:pt>
                <c:pt idx="72">
                  <c:v>1998</c:v>
                </c:pt>
                <c:pt idx="84">
                  <c:v>1999</c:v>
                </c:pt>
                <c:pt idx="96">
                  <c:v>2000</c:v>
                </c:pt>
                <c:pt idx="108">
                  <c:v>2001</c:v>
                </c:pt>
                <c:pt idx="120">
                  <c:v>2002</c:v>
                </c:pt>
                <c:pt idx="132">
                  <c:v>2003</c:v>
                </c:pt>
                <c:pt idx="144">
                  <c:v>2004</c:v>
                </c:pt>
                <c:pt idx="156">
                  <c:v>2005</c:v>
                </c:pt>
                <c:pt idx="168">
                  <c:v>2006</c:v>
                </c:pt>
                <c:pt idx="180">
                  <c:v>2007</c:v>
                </c:pt>
                <c:pt idx="192">
                  <c:v>2008</c:v>
                </c:pt>
                <c:pt idx="204">
                  <c:v>2009</c:v>
                </c:pt>
                <c:pt idx="216">
                  <c:v>2010</c:v>
                </c:pt>
                <c:pt idx="228">
                  <c:v>2011</c:v>
                </c:pt>
                <c:pt idx="240">
                  <c:v>2012</c:v>
                </c:pt>
                <c:pt idx="252">
                  <c:v>2013</c:v>
                </c:pt>
                <c:pt idx="264">
                  <c:v>2014</c:v>
                </c:pt>
                <c:pt idx="276">
                  <c:v>2015</c:v>
                </c:pt>
                <c:pt idx="288">
                  <c:v>2016</c:v>
                </c:pt>
                <c:pt idx="300">
                  <c:v>2017</c:v>
                </c:pt>
                <c:pt idx="312">
                  <c:v>2018</c:v>
                </c:pt>
                <c:pt idx="324">
                  <c:v>2019</c:v>
                </c:pt>
                <c:pt idx="336">
                  <c:v>2020</c:v>
                </c:pt>
                <c:pt idx="348">
                  <c:v>2021</c:v>
                </c:pt>
                <c:pt idx="360">
                  <c:v>2022</c:v>
                </c:pt>
              </c:numCache>
            </c:numRef>
          </c:cat>
          <c:val>
            <c:numRef>
              <c:f>'[external-datanovember.xls]External'!$Q$29:$Q$398</c:f>
              <c:numCache>
                <c:formatCode>0.00</c:formatCode>
                <c:ptCount val="370"/>
                <c:pt idx="0">
                  <c:v>44.452235258828594</c:v>
                </c:pt>
                <c:pt idx="1">
                  <c:v>44.012856718196311</c:v>
                </c:pt>
                <c:pt idx="2">
                  <c:v>43.828585099523359</c:v>
                </c:pt>
                <c:pt idx="3">
                  <c:v>46.155697926572984</c:v>
                </c:pt>
                <c:pt idx="4">
                  <c:v>48.205261643772708</c:v>
                </c:pt>
                <c:pt idx="5">
                  <c:v>50.650198559215724</c:v>
                </c:pt>
                <c:pt idx="6">
                  <c:v>49.901068711196437</c:v>
                </c:pt>
                <c:pt idx="7">
                  <c:v>49.70990818455661</c:v>
                </c:pt>
                <c:pt idx="8">
                  <c:v>51.181152293484331</c:v>
                </c:pt>
                <c:pt idx="9">
                  <c:v>51.357135261532207</c:v>
                </c:pt>
                <c:pt idx="10">
                  <c:v>48.793312560443766</c:v>
                </c:pt>
                <c:pt idx="11">
                  <c:v>46.991517846436167</c:v>
                </c:pt>
                <c:pt idx="12">
                  <c:v>45.78558564358481</c:v>
                </c:pt>
                <c:pt idx="13">
                  <c:v>46.478208159777445</c:v>
                </c:pt>
                <c:pt idx="14">
                  <c:v>48.075957740341508</c:v>
                </c:pt>
                <c:pt idx="15">
                  <c:v>48.540772279647847</c:v>
                </c:pt>
                <c:pt idx="16">
                  <c:v>47.47958964106526</c:v>
                </c:pt>
                <c:pt idx="17">
                  <c:v>45.842420701601618</c:v>
                </c:pt>
                <c:pt idx="18">
                  <c:v>43.943351407559419</c:v>
                </c:pt>
                <c:pt idx="19">
                  <c:v>44.754196202396592</c:v>
                </c:pt>
                <c:pt idx="20">
                  <c:v>43.52369893237681</c:v>
                </c:pt>
                <c:pt idx="21">
                  <c:v>43.754110188381894</c:v>
                </c:pt>
                <c:pt idx="22">
                  <c:v>42.26063064418809</c:v>
                </c:pt>
                <c:pt idx="23">
                  <c:v>38.449990695546298</c:v>
                </c:pt>
                <c:pt idx="24">
                  <c:v>39.817276760295726</c:v>
                </c:pt>
                <c:pt idx="25">
                  <c:v>40.417322920866923</c:v>
                </c:pt>
                <c:pt idx="26">
                  <c:v>38.312259350338088</c:v>
                </c:pt>
                <c:pt idx="27">
                  <c:v>40.654490627646915</c:v>
                </c:pt>
                <c:pt idx="28">
                  <c:v>42.611714246920201</c:v>
                </c:pt>
                <c:pt idx="29">
                  <c:v>44.494919533551595</c:v>
                </c:pt>
                <c:pt idx="30">
                  <c:v>45.846290207705628</c:v>
                </c:pt>
                <c:pt idx="31">
                  <c:v>43.781642519646091</c:v>
                </c:pt>
                <c:pt idx="32">
                  <c:v>42.13168630928493</c:v>
                </c:pt>
                <c:pt idx="33">
                  <c:v>42.942937857115545</c:v>
                </c:pt>
                <c:pt idx="34">
                  <c:v>44.067180918616501</c:v>
                </c:pt>
                <c:pt idx="35">
                  <c:v>43.037614997771925</c:v>
                </c:pt>
                <c:pt idx="36">
                  <c:v>44.045109863730517</c:v>
                </c:pt>
                <c:pt idx="37">
                  <c:v>45.172195067968275</c:v>
                </c:pt>
                <c:pt idx="38">
                  <c:v>45.382321341558118</c:v>
                </c:pt>
                <c:pt idx="39">
                  <c:v>47.800847154166604</c:v>
                </c:pt>
                <c:pt idx="40">
                  <c:v>47.746623508933432</c:v>
                </c:pt>
                <c:pt idx="41">
                  <c:v>45.827121247732897</c:v>
                </c:pt>
                <c:pt idx="42">
                  <c:v>43.383802288850859</c:v>
                </c:pt>
                <c:pt idx="43">
                  <c:v>44.042981459917257</c:v>
                </c:pt>
                <c:pt idx="44">
                  <c:v>44.720820960022181</c:v>
                </c:pt>
                <c:pt idx="45">
                  <c:v>44.118819904915114</c:v>
                </c:pt>
                <c:pt idx="46">
                  <c:v>45.571366575632808</c:v>
                </c:pt>
                <c:pt idx="47">
                  <c:v>49.653388996444882</c:v>
                </c:pt>
                <c:pt idx="48">
                  <c:v>50.013663496839492</c:v>
                </c:pt>
                <c:pt idx="49">
                  <c:v>52.236435295141128</c:v>
                </c:pt>
                <c:pt idx="50">
                  <c:v>52.433870375462831</c:v>
                </c:pt>
                <c:pt idx="51">
                  <c:v>53.071019416586779</c:v>
                </c:pt>
                <c:pt idx="52">
                  <c:v>50.298864549068114</c:v>
                </c:pt>
                <c:pt idx="53">
                  <c:v>50.243153705352356</c:v>
                </c:pt>
                <c:pt idx="54">
                  <c:v>51.745556573668146</c:v>
                </c:pt>
                <c:pt idx="55">
                  <c:v>52.015101706731073</c:v>
                </c:pt>
                <c:pt idx="56">
                  <c:v>55.437039065997929</c:v>
                </c:pt>
                <c:pt idx="57">
                  <c:v>59.372026222319079</c:v>
                </c:pt>
                <c:pt idx="58">
                  <c:v>60.504780121697351</c:v>
                </c:pt>
                <c:pt idx="59">
                  <c:v>64.294939976800094</c:v>
                </c:pt>
                <c:pt idx="60">
                  <c:v>61.484578729773034</c:v>
                </c:pt>
                <c:pt idx="61">
                  <c:v>53.480830956196279</c:v>
                </c:pt>
                <c:pt idx="62">
                  <c:v>50.539143015758327</c:v>
                </c:pt>
                <c:pt idx="63">
                  <c:v>47.81372945958028</c:v>
                </c:pt>
                <c:pt idx="64">
                  <c:v>50.701203415840602</c:v>
                </c:pt>
                <c:pt idx="65">
                  <c:v>48.119794388495471</c:v>
                </c:pt>
                <c:pt idx="66">
                  <c:v>48.371750732516794</c:v>
                </c:pt>
                <c:pt idx="67">
                  <c:v>49.751696091376736</c:v>
                </c:pt>
                <c:pt idx="68">
                  <c:v>50.868911616598176</c:v>
                </c:pt>
                <c:pt idx="69">
                  <c:v>53.429404473586708</c:v>
                </c:pt>
                <c:pt idx="70">
                  <c:v>51.295631750308281</c:v>
                </c:pt>
                <c:pt idx="71">
                  <c:v>46.373655513503067</c:v>
                </c:pt>
                <c:pt idx="72">
                  <c:v>42.128222323917633</c:v>
                </c:pt>
                <c:pt idx="73">
                  <c:v>40.329750243482174</c:v>
                </c:pt>
                <c:pt idx="74">
                  <c:v>38.408636792511835</c:v>
                </c:pt>
                <c:pt idx="75">
                  <c:v>39.459778482924307</c:v>
                </c:pt>
                <c:pt idx="76">
                  <c:v>39.049348374737079</c:v>
                </c:pt>
                <c:pt idx="77">
                  <c:v>36.899318537550798</c:v>
                </c:pt>
                <c:pt idx="78">
                  <c:v>36.701413376893626</c:v>
                </c:pt>
                <c:pt idx="79">
                  <c:v>35.118176956255333</c:v>
                </c:pt>
                <c:pt idx="80">
                  <c:v>37.657978086530989</c:v>
                </c:pt>
                <c:pt idx="81">
                  <c:v>36.444469293864834</c:v>
                </c:pt>
                <c:pt idx="82">
                  <c:v>34.514999032120045</c:v>
                </c:pt>
                <c:pt idx="83">
                  <c:v>30.836014338979179</c:v>
                </c:pt>
                <c:pt idx="84">
                  <c:v>32.546720672528771</c:v>
                </c:pt>
                <c:pt idx="85">
                  <c:v>31.353670234952581</c:v>
                </c:pt>
                <c:pt idx="86">
                  <c:v>35.421849078064405</c:v>
                </c:pt>
                <c:pt idx="87">
                  <c:v>40.651286356962153</c:v>
                </c:pt>
                <c:pt idx="88">
                  <c:v>41.88406478933053</c:v>
                </c:pt>
                <c:pt idx="89">
                  <c:v>42.82764517986957</c:v>
                </c:pt>
                <c:pt idx="90">
                  <c:v>47.252961762701126</c:v>
                </c:pt>
                <c:pt idx="91">
                  <c:v>51.27360798785525</c:v>
                </c:pt>
                <c:pt idx="92">
                  <c:v>55.40367682467997</c:v>
                </c:pt>
                <c:pt idx="93">
                  <c:v>54.967454074505554</c:v>
                </c:pt>
                <c:pt idx="94">
                  <c:v>57.750392651699592</c:v>
                </c:pt>
                <c:pt idx="95">
                  <c:v>59.078669924774061</c:v>
                </c:pt>
                <c:pt idx="96">
                  <c:v>62.239226058615124</c:v>
                </c:pt>
                <c:pt idx="97">
                  <c:v>66.423299922977563</c:v>
                </c:pt>
                <c:pt idx="98">
                  <c:v>66.68511583625957</c:v>
                </c:pt>
                <c:pt idx="99">
                  <c:v>61.416954968085932</c:v>
                </c:pt>
                <c:pt idx="100">
                  <c:v>68.67146880495234</c:v>
                </c:pt>
                <c:pt idx="101">
                  <c:v>75.15070693743462</c:v>
                </c:pt>
                <c:pt idx="102">
                  <c:v>72.686553798070562</c:v>
                </c:pt>
                <c:pt idx="103">
                  <c:v>76.799194715498828</c:v>
                </c:pt>
                <c:pt idx="104">
                  <c:v>82.934811241412746</c:v>
                </c:pt>
                <c:pt idx="105">
                  <c:v>82.305584041293287</c:v>
                </c:pt>
                <c:pt idx="106">
                  <c:v>84.8125158439628</c:v>
                </c:pt>
                <c:pt idx="107">
                  <c:v>83.320757006225662</c:v>
                </c:pt>
                <c:pt idx="108">
                  <c:v>82.367104829696586</c:v>
                </c:pt>
                <c:pt idx="109">
                  <c:v>76.51102776054752</c:v>
                </c:pt>
                <c:pt idx="110">
                  <c:v>72.127031375184913</c:v>
                </c:pt>
                <c:pt idx="111">
                  <c:v>73.105310391845876</c:v>
                </c:pt>
                <c:pt idx="112">
                  <c:v>73.018053627502823</c:v>
                </c:pt>
                <c:pt idx="113">
                  <c:v>70.771302516313597</c:v>
                </c:pt>
                <c:pt idx="114">
                  <c:v>64.647998060772494</c:v>
                </c:pt>
                <c:pt idx="115">
                  <c:v>65.747882517685795</c:v>
                </c:pt>
                <c:pt idx="116">
                  <c:v>62.873257342325829</c:v>
                </c:pt>
                <c:pt idx="117">
                  <c:v>55.517126304274782</c:v>
                </c:pt>
                <c:pt idx="118">
                  <c:v>50.12373537625205</c:v>
                </c:pt>
                <c:pt idx="119">
                  <c:v>49.467830555963623</c:v>
                </c:pt>
                <c:pt idx="120">
                  <c:v>49.446171733478522</c:v>
                </c:pt>
                <c:pt idx="121">
                  <c:v>51.143648238469389</c:v>
                </c:pt>
                <c:pt idx="122">
                  <c:v>59.392713822074668</c:v>
                </c:pt>
                <c:pt idx="123">
                  <c:v>63.221657331236344</c:v>
                </c:pt>
                <c:pt idx="124">
                  <c:v>63.945095996033153</c:v>
                </c:pt>
                <c:pt idx="125">
                  <c:v>61.063301508763075</c:v>
                </c:pt>
                <c:pt idx="126">
                  <c:v>63.166597846617691</c:v>
                </c:pt>
                <c:pt idx="127">
                  <c:v>64.126887412290614</c:v>
                </c:pt>
                <c:pt idx="128">
                  <c:v>68.52061893621422</c:v>
                </c:pt>
                <c:pt idx="129">
                  <c:v>69.422977869398153</c:v>
                </c:pt>
                <c:pt idx="130">
                  <c:v>64.689744632495348</c:v>
                </c:pt>
                <c:pt idx="131">
                  <c:v>72.092202281377212</c:v>
                </c:pt>
                <c:pt idx="132">
                  <c:v>79.454165852773613</c:v>
                </c:pt>
                <c:pt idx="133">
                  <c:v>90.889264251311388</c:v>
                </c:pt>
                <c:pt idx="134">
                  <c:v>80.592194800337808</c:v>
                </c:pt>
                <c:pt idx="135">
                  <c:v>70.847197302195724</c:v>
                </c:pt>
                <c:pt idx="136">
                  <c:v>72.87867605537987</c:v>
                </c:pt>
                <c:pt idx="137">
                  <c:v>76.2041201992688</c:v>
                </c:pt>
                <c:pt idx="138">
                  <c:v>75.261383900499283</c:v>
                </c:pt>
                <c:pt idx="139">
                  <c:v>77.177781781979562</c:v>
                </c:pt>
                <c:pt idx="140">
                  <c:v>71.984238015034435</c:v>
                </c:pt>
                <c:pt idx="141">
                  <c:v>75.717674774829788</c:v>
                </c:pt>
                <c:pt idx="142">
                  <c:v>75.940249908857112</c:v>
                </c:pt>
                <c:pt idx="143">
                  <c:v>82.273734681249252</c:v>
                </c:pt>
                <c:pt idx="144">
                  <c:v>85.615384021491749</c:v>
                </c:pt>
                <c:pt idx="145">
                  <c:v>83.783437036664978</c:v>
                </c:pt>
                <c:pt idx="146">
                  <c:v>86.843360126243127</c:v>
                </c:pt>
                <c:pt idx="147">
                  <c:v>89.179752406035405</c:v>
                </c:pt>
                <c:pt idx="148">
                  <c:v>97.566990014375122</c:v>
                </c:pt>
                <c:pt idx="149">
                  <c:v>95.460292171923996</c:v>
                </c:pt>
                <c:pt idx="150">
                  <c:v>99.655679995916358</c:v>
                </c:pt>
                <c:pt idx="151">
                  <c:v>105.16954921518311</c:v>
                </c:pt>
                <c:pt idx="152">
                  <c:v>103.98479389660477</c:v>
                </c:pt>
                <c:pt idx="153">
                  <c:v>117.28247040986385</c:v>
                </c:pt>
                <c:pt idx="154">
                  <c:v>109.00453495989025</c:v>
                </c:pt>
                <c:pt idx="155">
                  <c:v>103.46887735076339</c:v>
                </c:pt>
                <c:pt idx="156">
                  <c:v>108.9633428860035</c:v>
                </c:pt>
                <c:pt idx="157">
                  <c:v>110.97284978512441</c:v>
                </c:pt>
                <c:pt idx="158">
                  <c:v>124.9901540195538</c:v>
                </c:pt>
                <c:pt idx="159">
                  <c:v>126.2693034372124</c:v>
                </c:pt>
                <c:pt idx="160">
                  <c:v>119.68847452050004</c:v>
                </c:pt>
                <c:pt idx="161">
                  <c:v>130.90937819506564</c:v>
                </c:pt>
                <c:pt idx="162">
                  <c:v>137.45817507001016</c:v>
                </c:pt>
                <c:pt idx="163">
                  <c:v>151.52156370957897</c:v>
                </c:pt>
                <c:pt idx="164">
                  <c:v>160.7617148749469</c:v>
                </c:pt>
                <c:pt idx="165">
                  <c:v>158.70121745935299</c:v>
                </c:pt>
                <c:pt idx="166">
                  <c:v>143.8031933873952</c:v>
                </c:pt>
                <c:pt idx="167">
                  <c:v>152.89504523184328</c:v>
                </c:pt>
                <c:pt idx="168">
                  <c:v>152.34931311529706</c:v>
                </c:pt>
                <c:pt idx="169">
                  <c:v>146.0480076083214</c:v>
                </c:pt>
                <c:pt idx="170">
                  <c:v>147.28882314941907</c:v>
                </c:pt>
                <c:pt idx="171">
                  <c:v>160.52202804745838</c:v>
                </c:pt>
                <c:pt idx="172">
                  <c:v>159.91251052910596</c:v>
                </c:pt>
                <c:pt idx="173">
                  <c:v>159.62951081706092</c:v>
                </c:pt>
                <c:pt idx="174">
                  <c:v>166.92480037181937</c:v>
                </c:pt>
                <c:pt idx="175">
                  <c:v>167.89749265597163</c:v>
                </c:pt>
                <c:pt idx="176">
                  <c:v>145.64977047186667</c:v>
                </c:pt>
                <c:pt idx="177">
                  <c:v>140.29503113832138</c:v>
                </c:pt>
                <c:pt idx="178">
                  <c:v>144.6434400973024</c:v>
                </c:pt>
                <c:pt idx="179">
                  <c:v>147.26066718315928</c:v>
                </c:pt>
                <c:pt idx="180">
                  <c:v>134.71304078154319</c:v>
                </c:pt>
                <c:pt idx="181">
                  <c:v>145.02682519124576</c:v>
                </c:pt>
                <c:pt idx="182">
                  <c:v>148.29818701874021</c:v>
                </c:pt>
                <c:pt idx="183">
                  <c:v>156.85296113109888</c:v>
                </c:pt>
                <c:pt idx="184">
                  <c:v>157.71647663874072</c:v>
                </c:pt>
                <c:pt idx="185">
                  <c:v>162.32716264788667</c:v>
                </c:pt>
                <c:pt idx="186">
                  <c:v>168.82227506067346</c:v>
                </c:pt>
                <c:pt idx="187">
                  <c:v>164.3798611778123</c:v>
                </c:pt>
                <c:pt idx="188">
                  <c:v>174.95269920475047</c:v>
                </c:pt>
                <c:pt idx="189">
                  <c:v>189.04155701022421</c:v>
                </c:pt>
                <c:pt idx="190">
                  <c:v>207.65945353820746</c:v>
                </c:pt>
                <c:pt idx="191">
                  <c:v>206.53285236650154</c:v>
                </c:pt>
                <c:pt idx="192">
                  <c:v>212.95256526713021</c:v>
                </c:pt>
                <c:pt idx="193">
                  <c:v>221.20740966807136</c:v>
                </c:pt>
                <c:pt idx="194">
                  <c:v>236.79499957876178</c:v>
                </c:pt>
                <c:pt idx="195">
                  <c:v>253.57393632060746</c:v>
                </c:pt>
                <c:pt idx="196">
                  <c:v>281.92082452793278</c:v>
                </c:pt>
                <c:pt idx="197">
                  <c:v>303.74529440292645</c:v>
                </c:pt>
                <c:pt idx="198">
                  <c:v>308.94584507983808</c:v>
                </c:pt>
                <c:pt idx="199">
                  <c:v>268.9429999045347</c:v>
                </c:pt>
                <c:pt idx="200">
                  <c:v>241.15779573133059</c:v>
                </c:pt>
                <c:pt idx="201">
                  <c:v>188.56808132652628</c:v>
                </c:pt>
                <c:pt idx="202">
                  <c:v>150.20078245123722</c:v>
                </c:pt>
                <c:pt idx="203">
                  <c:v>122.67224301202236</c:v>
                </c:pt>
                <c:pt idx="204">
                  <c:v>125.37827670895483</c:v>
                </c:pt>
                <c:pt idx="205">
                  <c:v>117.72242076049405</c:v>
                </c:pt>
                <c:pt idx="206">
                  <c:v>118.843901173609</c:v>
                </c:pt>
                <c:pt idx="207">
                  <c:v>119.20519973596971</c:v>
                </c:pt>
                <c:pt idx="208">
                  <c:v>133.97993538685043</c:v>
                </c:pt>
                <c:pt idx="209">
                  <c:v>152.98295321860425</c:v>
                </c:pt>
                <c:pt idx="210">
                  <c:v>143.46431393035064</c:v>
                </c:pt>
                <c:pt idx="211">
                  <c:v>154.86771795695884</c:v>
                </c:pt>
                <c:pt idx="212">
                  <c:v>148.56366943957798</c:v>
                </c:pt>
                <c:pt idx="213">
                  <c:v>161.88819495352968</c:v>
                </c:pt>
                <c:pt idx="214">
                  <c:v>167.28240524265021</c:v>
                </c:pt>
                <c:pt idx="215">
                  <c:v>169.08139774749461</c:v>
                </c:pt>
                <c:pt idx="216">
                  <c:v>178.41947067920964</c:v>
                </c:pt>
                <c:pt idx="217">
                  <c:v>172.41900652177347</c:v>
                </c:pt>
                <c:pt idx="218">
                  <c:v>177.043925116846</c:v>
                </c:pt>
                <c:pt idx="219">
                  <c:v>185.83420482290444</c:v>
                </c:pt>
                <c:pt idx="220">
                  <c:v>171.38183465904618</c:v>
                </c:pt>
                <c:pt idx="221">
                  <c:v>171.55003393970154</c:v>
                </c:pt>
                <c:pt idx="222">
                  <c:v>170.90908663340878</c:v>
                </c:pt>
                <c:pt idx="223">
                  <c:v>172.00681975474103</c:v>
                </c:pt>
                <c:pt idx="224">
                  <c:v>171.97802745635389</c:v>
                </c:pt>
                <c:pt idx="225">
                  <c:v>181.74942391081746</c:v>
                </c:pt>
                <c:pt idx="226">
                  <c:v>188.43047979752561</c:v>
                </c:pt>
                <c:pt idx="227">
                  <c:v>200.59643977371488</c:v>
                </c:pt>
                <c:pt idx="228">
                  <c:v>208.93267198574378</c:v>
                </c:pt>
                <c:pt idx="229">
                  <c:v>216.00052857567803</c:v>
                </c:pt>
                <c:pt idx="230">
                  <c:v>233.84182190461942</c:v>
                </c:pt>
                <c:pt idx="231">
                  <c:v>250.73002696841135</c:v>
                </c:pt>
                <c:pt idx="232">
                  <c:v>238.78678447999178</c:v>
                </c:pt>
                <c:pt idx="233">
                  <c:v>236.26596667619867</c:v>
                </c:pt>
                <c:pt idx="234">
                  <c:v>241.70407423847689</c:v>
                </c:pt>
                <c:pt idx="235">
                  <c:v>229.02943138003934</c:v>
                </c:pt>
                <c:pt idx="236">
                  <c:v>229.29136043115523</c:v>
                </c:pt>
                <c:pt idx="237">
                  <c:v>227.72318632522021</c:v>
                </c:pt>
                <c:pt idx="238">
                  <c:v>234.30351767131862</c:v>
                </c:pt>
                <c:pt idx="239">
                  <c:v>231.53183040132936</c:v>
                </c:pt>
                <c:pt idx="240">
                  <c:v>234.56199300439221</c:v>
                </c:pt>
                <c:pt idx="241">
                  <c:v>242.49210694939251</c:v>
                </c:pt>
                <c:pt idx="242">
                  <c:v>251.47758657867288</c:v>
                </c:pt>
                <c:pt idx="243">
                  <c:v>244.60244037617392</c:v>
                </c:pt>
                <c:pt idx="244">
                  <c:v>226.81141785034302</c:v>
                </c:pt>
                <c:pt idx="245">
                  <c:v>203.84606219857042</c:v>
                </c:pt>
                <c:pt idx="246">
                  <c:v>213.55018411209397</c:v>
                </c:pt>
                <c:pt idx="247">
                  <c:v>227.1006520305265</c:v>
                </c:pt>
                <c:pt idx="248">
                  <c:v>228.60417416160564</c:v>
                </c:pt>
                <c:pt idx="249">
                  <c:v>223.58228178018251</c:v>
                </c:pt>
                <c:pt idx="250">
                  <c:v>220.23902855524807</c:v>
                </c:pt>
                <c:pt idx="251">
                  <c:v>220.58378193668534</c:v>
                </c:pt>
                <c:pt idx="252">
                  <c:v>226.60999265772074</c:v>
                </c:pt>
                <c:pt idx="253">
                  <c:v>230.71860642801087</c:v>
                </c:pt>
                <c:pt idx="254">
                  <c:v>224.63441845580186</c:v>
                </c:pt>
                <c:pt idx="255">
                  <c:v>219.1546409618087</c:v>
                </c:pt>
                <c:pt idx="256">
                  <c:v>218.77987766147876</c:v>
                </c:pt>
                <c:pt idx="257">
                  <c:v>218.33809474741233</c:v>
                </c:pt>
                <c:pt idx="258">
                  <c:v>225.47501575884615</c:v>
                </c:pt>
                <c:pt idx="259">
                  <c:v>230.58795153221072</c:v>
                </c:pt>
                <c:pt idx="260">
                  <c:v>232.53759380391253</c:v>
                </c:pt>
                <c:pt idx="261">
                  <c:v>227.89897814524159</c:v>
                </c:pt>
                <c:pt idx="262">
                  <c:v>223.87248785324508</c:v>
                </c:pt>
                <c:pt idx="263">
                  <c:v>231.95105343406993</c:v>
                </c:pt>
                <c:pt idx="264">
                  <c:v>227.61824980318698</c:v>
                </c:pt>
                <c:pt idx="265">
                  <c:v>233.57450501762065</c:v>
                </c:pt>
                <c:pt idx="266">
                  <c:v>227.20077041485294</c:v>
                </c:pt>
                <c:pt idx="267">
                  <c:v>229.02575482605224</c:v>
                </c:pt>
                <c:pt idx="268">
                  <c:v>229.44848146113878</c:v>
                </c:pt>
                <c:pt idx="269">
                  <c:v>233.603396624537</c:v>
                </c:pt>
                <c:pt idx="270">
                  <c:v>225.16290518371596</c:v>
                </c:pt>
                <c:pt idx="271">
                  <c:v>216.43155005997886</c:v>
                </c:pt>
                <c:pt idx="272">
                  <c:v>209.12866756368101</c:v>
                </c:pt>
                <c:pt idx="273">
                  <c:v>191.53220526423581</c:v>
                </c:pt>
                <c:pt idx="274">
                  <c:v>177.38212480423113</c:v>
                </c:pt>
                <c:pt idx="275">
                  <c:v>147.73973210083631</c:v>
                </c:pt>
                <c:pt idx="276">
                  <c:v>122.03632380234936</c:v>
                </c:pt>
                <c:pt idx="277">
                  <c:v>133.64740446572588</c:v>
                </c:pt>
                <c:pt idx="278">
                  <c:v>128.30772529216256</c:v>
                </c:pt>
                <c:pt idx="279">
                  <c:v>130.52880026236085</c:v>
                </c:pt>
                <c:pt idx="280">
                  <c:v>137.48349367802589</c:v>
                </c:pt>
                <c:pt idx="281">
                  <c:v>134.15690153806344</c:v>
                </c:pt>
                <c:pt idx="282">
                  <c:v>122.93890101248108</c:v>
                </c:pt>
                <c:pt idx="283">
                  <c:v>109.2272917816165</c:v>
                </c:pt>
                <c:pt idx="284">
                  <c:v>109.02526596518248</c:v>
                </c:pt>
                <c:pt idx="285">
                  <c:v>108.89921904941552</c:v>
                </c:pt>
                <c:pt idx="286">
                  <c:v>101.26614187388378</c:v>
                </c:pt>
                <c:pt idx="287">
                  <c:v>90.267984884288467</c:v>
                </c:pt>
                <c:pt idx="288">
                  <c:v>77.635468532257349</c:v>
                </c:pt>
                <c:pt idx="289">
                  <c:v>77.788742826281222</c:v>
                </c:pt>
                <c:pt idx="290">
                  <c:v>87.665618492049788</c:v>
                </c:pt>
                <c:pt idx="291">
                  <c:v>92.543728891750902</c:v>
                </c:pt>
                <c:pt idx="292">
                  <c:v>101.48366663480596</c:v>
                </c:pt>
                <c:pt idx="293">
                  <c:v>106.69299086029197</c:v>
                </c:pt>
                <c:pt idx="294">
                  <c:v>101.7726590153257</c:v>
                </c:pt>
                <c:pt idx="295">
                  <c:v>103.37630991559524</c:v>
                </c:pt>
                <c:pt idx="296">
                  <c:v>104.63355607871797</c:v>
                </c:pt>
                <c:pt idx="297">
                  <c:v>115.26096029225083</c:v>
                </c:pt>
                <c:pt idx="298">
                  <c:v>108.44429281648429</c:v>
                </c:pt>
                <c:pt idx="299">
                  <c:v>122.70200564418877</c:v>
                </c:pt>
                <c:pt idx="300">
                  <c:v>127.82669648918761</c:v>
                </c:pt>
                <c:pt idx="301">
                  <c:v>125.61760683421686</c:v>
                </c:pt>
                <c:pt idx="302">
                  <c:v>115.77255383265333</c:v>
                </c:pt>
                <c:pt idx="303">
                  <c:v>119.22575933006472</c:v>
                </c:pt>
                <c:pt idx="304">
                  <c:v>114.46223948283951</c:v>
                </c:pt>
                <c:pt idx="305">
                  <c:v>107.90636264104651</c:v>
                </c:pt>
                <c:pt idx="306">
                  <c:v>111.27206475027009</c:v>
                </c:pt>
                <c:pt idx="307">
                  <c:v>117.62408618349798</c:v>
                </c:pt>
                <c:pt idx="308">
                  <c:v>125.57251589276332</c:v>
                </c:pt>
                <c:pt idx="309">
                  <c:v>129.92508829147607</c:v>
                </c:pt>
                <c:pt idx="310">
                  <c:v>140.76542301844705</c:v>
                </c:pt>
                <c:pt idx="311">
                  <c:v>143.63797917341938</c:v>
                </c:pt>
                <c:pt idx="312">
                  <c:v>152.81274038265622</c:v>
                </c:pt>
                <c:pt idx="313">
                  <c:v>147.22180797330586</c:v>
                </c:pt>
                <c:pt idx="314">
                  <c:v>147.28211015773508</c:v>
                </c:pt>
                <c:pt idx="315">
                  <c:v>151.75623376149719</c:v>
                </c:pt>
                <c:pt idx="316">
                  <c:v>162.89825468763161</c:v>
                </c:pt>
                <c:pt idx="317">
                  <c:v>163.17514181592176</c:v>
                </c:pt>
                <c:pt idx="318">
                  <c:v>164.47337796639238</c:v>
                </c:pt>
                <c:pt idx="319">
                  <c:v>163.16784653399338</c:v>
                </c:pt>
                <c:pt idx="320">
                  <c:v>172.60578357597151</c:v>
                </c:pt>
                <c:pt idx="321">
                  <c:v>172.28754487542759</c:v>
                </c:pt>
                <c:pt idx="322">
                  <c:v>148.04306304767442</c:v>
                </c:pt>
                <c:pt idx="323">
                  <c:v>132.69318163859995</c:v>
                </c:pt>
                <c:pt idx="324">
                  <c:v>132.83789719551191</c:v>
                </c:pt>
                <c:pt idx="325">
                  <c:v>135.1878033191212</c:v>
                </c:pt>
                <c:pt idx="326">
                  <c:v>137.13534177957439</c:v>
                </c:pt>
                <c:pt idx="327">
                  <c:v>142.67889773009918</c:v>
                </c:pt>
                <c:pt idx="328">
                  <c:v>137.66308849981363</c:v>
                </c:pt>
                <c:pt idx="329">
                  <c:v>122.07581890947418</c:v>
                </c:pt>
                <c:pt idx="330">
                  <c:v>125.73246031623481</c:v>
                </c:pt>
                <c:pt idx="331">
                  <c:v>117.13829195472067</c:v>
                </c:pt>
                <c:pt idx="332">
                  <c:v>122.43730177497744</c:v>
                </c:pt>
                <c:pt idx="333">
                  <c:v>119.79716715073762</c:v>
                </c:pt>
                <c:pt idx="334">
                  <c:v>127.63146168400496</c:v>
                </c:pt>
                <c:pt idx="335">
                  <c:v>131.10422004182519</c:v>
                </c:pt>
                <c:pt idx="336">
                  <c:v>126.14207323814469</c:v>
                </c:pt>
                <c:pt idx="337">
                  <c:v>109.28935907494456</c:v>
                </c:pt>
                <c:pt idx="338">
                  <c:v>72.994167503519066</c:v>
                </c:pt>
                <c:pt idx="339">
                  <c:v>55.890512441215748</c:v>
                </c:pt>
                <c:pt idx="340">
                  <c:v>68.011499294295234</c:v>
                </c:pt>
                <c:pt idx="341">
                  <c:v>82.397563594802236</c:v>
                </c:pt>
                <c:pt idx="342">
                  <c:v>86.41654735655753</c:v>
                </c:pt>
                <c:pt idx="343">
                  <c:v>93.227185747626422</c:v>
                </c:pt>
                <c:pt idx="344">
                  <c:v>91.297555359897473</c:v>
                </c:pt>
                <c:pt idx="345">
                  <c:v>95.40285718233676</c:v>
                </c:pt>
                <c:pt idx="346">
                  <c:v>100.89541152644038</c:v>
                </c:pt>
                <c:pt idx="347">
                  <c:v>118.49397951505203</c:v>
                </c:pt>
                <c:pt idx="348">
                  <c:v>138.44627249070791</c:v>
                </c:pt>
                <c:pt idx="349">
                  <c:v>137.66490834564371</c:v>
                </c:pt>
                <c:pt idx="350">
                  <c:v>142.13654833826237</c:v>
                </c:pt>
                <c:pt idx="351">
                  <c:v>143.19371421199261</c:v>
                </c:pt>
                <c:pt idx="352">
                  <c:v>154.55747429845118</c:v>
                </c:pt>
                <c:pt idx="353">
                  <c:v>170.89514108949206</c:v>
                </c:pt>
                <c:pt idx="354">
                  <c:v>181.34991609751162</c:v>
                </c:pt>
                <c:pt idx="355">
                  <c:v>183.80651475032252</c:v>
                </c:pt>
                <c:pt idx="356">
                  <c:v>212.87906420443829</c:v>
                </c:pt>
                <c:pt idx="357">
                  <c:v>256.46075422101114</c:v>
                </c:pt>
                <c:pt idx="358">
                  <c:v>235.68333164688178</c:v>
                </c:pt>
                <c:pt idx="359">
                  <c:v>239.99103249725138</c:v>
                </c:pt>
                <c:pt idx="360">
                  <c:v>241.37737826193072</c:v>
                </c:pt>
                <c:pt idx="361">
                  <c:v>260.04836262176536</c:v>
                </c:pt>
                <c:pt idx="362">
                  <c:v>331.78375933108026</c:v>
                </c:pt>
                <c:pt idx="363">
                  <c:v>300.53317790586027</c:v>
                </c:pt>
                <c:pt idx="364">
                  <c:v>306.67497921690921</c:v>
                </c:pt>
                <c:pt idx="365">
                  <c:v>328.12348040417533</c:v>
                </c:pt>
                <c:pt idx="366">
                  <c:v>343.8099974185609</c:v>
                </c:pt>
                <c:pt idx="367">
                  <c:v>376.41208256914467</c:v>
                </c:pt>
                <c:pt idx="368">
                  <c:v>330.14958591389785</c:v>
                </c:pt>
                <c:pt idx="369">
                  <c:v>259.8586761899341</c:v>
                </c:pt>
              </c:numCache>
            </c:numRef>
          </c:val>
          <c:smooth val="0"/>
          <c:extLst>
            <c:ext xmlns:c16="http://schemas.microsoft.com/office/drawing/2014/chart" uri="{C3380CC4-5D6E-409C-BE32-E72D297353CC}">
              <c16:uniqueId val="{00000000-9AA4-4B11-A818-635C8FEF97AC}"/>
            </c:ext>
          </c:extLst>
        </c:ser>
        <c:ser>
          <c:idx val="1"/>
          <c:order val="1"/>
          <c:tx>
            <c:v>Food</c:v>
          </c:tx>
          <c:spPr>
            <a:ln w="28575" cap="rnd">
              <a:solidFill>
                <a:srgbClr val="C00000"/>
              </a:solidFill>
              <a:round/>
            </a:ln>
            <a:effectLst/>
          </c:spPr>
          <c:marker>
            <c:symbol val="none"/>
          </c:marker>
          <c:val>
            <c:numRef>
              <c:f>'[external-datanovember.xls]External'!$G$29:$G$398</c:f>
              <c:numCache>
                <c:formatCode>0.00</c:formatCode>
                <c:ptCount val="370"/>
                <c:pt idx="0">
                  <c:v>57.735817267767665</c:v>
                </c:pt>
                <c:pt idx="1">
                  <c:v>57.843878002213877</c:v>
                </c:pt>
                <c:pt idx="2">
                  <c:v>57.470365734203959</c:v>
                </c:pt>
                <c:pt idx="3">
                  <c:v>56.212981376289555</c:v>
                </c:pt>
                <c:pt idx="4">
                  <c:v>57.690999979294617</c:v>
                </c:pt>
                <c:pt idx="5">
                  <c:v>57.29455513351342</c:v>
                </c:pt>
                <c:pt idx="6">
                  <c:v>57.772141553438701</c:v>
                </c:pt>
                <c:pt idx="7">
                  <c:v>59.728390517923842</c:v>
                </c:pt>
                <c:pt idx="8">
                  <c:v>59.460201081423889</c:v>
                </c:pt>
                <c:pt idx="9">
                  <c:v>57.035706911675739</c:v>
                </c:pt>
                <c:pt idx="10">
                  <c:v>55.856469970258544</c:v>
                </c:pt>
                <c:pt idx="11">
                  <c:v>55.142055122091278</c:v>
                </c:pt>
                <c:pt idx="12">
                  <c:v>56.277224554510305</c:v>
                </c:pt>
                <c:pt idx="13">
                  <c:v>56.098736155087302</c:v>
                </c:pt>
                <c:pt idx="14">
                  <c:v>57.823318571862693</c:v>
                </c:pt>
                <c:pt idx="15">
                  <c:v>58.745142650948331</c:v>
                </c:pt>
                <c:pt idx="16">
                  <c:v>59.660036991141219</c:v>
                </c:pt>
                <c:pt idx="17">
                  <c:v>59.033430594948925</c:v>
                </c:pt>
                <c:pt idx="18">
                  <c:v>59.301970803302495</c:v>
                </c:pt>
                <c:pt idx="19">
                  <c:v>58.526810092107532</c:v>
                </c:pt>
                <c:pt idx="20">
                  <c:v>58.213052723351417</c:v>
                </c:pt>
                <c:pt idx="21">
                  <c:v>57.637233108133316</c:v>
                </c:pt>
                <c:pt idx="22">
                  <c:v>58.191450432702574</c:v>
                </c:pt>
                <c:pt idx="23">
                  <c:v>59.731552928296786</c:v>
                </c:pt>
                <c:pt idx="24">
                  <c:v>60.820793879390145</c:v>
                </c:pt>
                <c:pt idx="25">
                  <c:v>61.490330653154743</c:v>
                </c:pt>
                <c:pt idx="26">
                  <c:v>60.728594982893476</c:v>
                </c:pt>
                <c:pt idx="27">
                  <c:v>60.466312934917561</c:v>
                </c:pt>
                <c:pt idx="28">
                  <c:v>60.179648706402119</c:v>
                </c:pt>
                <c:pt idx="29">
                  <c:v>59.48260153189883</c:v>
                </c:pt>
                <c:pt idx="30">
                  <c:v>58.457758854052933</c:v>
                </c:pt>
                <c:pt idx="31">
                  <c:v>58.65074924510634</c:v>
                </c:pt>
                <c:pt idx="32">
                  <c:v>59.355752914873619</c:v>
                </c:pt>
                <c:pt idx="33">
                  <c:v>59.203264274047115</c:v>
                </c:pt>
                <c:pt idx="34">
                  <c:v>58.746286856815416</c:v>
                </c:pt>
                <c:pt idx="35">
                  <c:v>60.739778116644871</c:v>
                </c:pt>
                <c:pt idx="36">
                  <c:v>60.153145084283288</c:v>
                </c:pt>
                <c:pt idx="37">
                  <c:v>60.736426557222281</c:v>
                </c:pt>
                <c:pt idx="38">
                  <c:v>60.729126147185347</c:v>
                </c:pt>
                <c:pt idx="39">
                  <c:v>59.912492349118629</c:v>
                </c:pt>
                <c:pt idx="40">
                  <c:v>59.624041528834908</c:v>
                </c:pt>
                <c:pt idx="41">
                  <c:v>61.689342731972673</c:v>
                </c:pt>
                <c:pt idx="42">
                  <c:v>64.258712869875708</c:v>
                </c:pt>
                <c:pt idx="43">
                  <c:v>63.993833168442258</c:v>
                </c:pt>
                <c:pt idx="44">
                  <c:v>64.244061132026147</c:v>
                </c:pt>
                <c:pt idx="45">
                  <c:v>65.49882346878266</c:v>
                </c:pt>
                <c:pt idx="46">
                  <c:v>64.481001415911621</c:v>
                </c:pt>
                <c:pt idx="47">
                  <c:v>65.284231949643114</c:v>
                </c:pt>
                <c:pt idx="48">
                  <c:v>65.598639146254598</c:v>
                </c:pt>
                <c:pt idx="49">
                  <c:v>67.190638829138379</c:v>
                </c:pt>
                <c:pt idx="50">
                  <c:v>67.911077082673572</c:v>
                </c:pt>
                <c:pt idx="51">
                  <c:v>72.03857700640053</c:v>
                </c:pt>
                <c:pt idx="52">
                  <c:v>74.005750179531674</c:v>
                </c:pt>
                <c:pt idx="53">
                  <c:v>71.540147362050405</c:v>
                </c:pt>
                <c:pt idx="54">
                  <c:v>72.340719816086875</c:v>
                </c:pt>
                <c:pt idx="55">
                  <c:v>71.450208365985006</c:v>
                </c:pt>
                <c:pt idx="56">
                  <c:v>65.779349271237351</c:v>
                </c:pt>
                <c:pt idx="57">
                  <c:v>63.483800216979844</c:v>
                </c:pt>
                <c:pt idx="58">
                  <c:v>62.87401446058761</c:v>
                </c:pt>
                <c:pt idx="59">
                  <c:v>63.023006103442924</c:v>
                </c:pt>
                <c:pt idx="60">
                  <c:v>64.373053246612301</c:v>
                </c:pt>
                <c:pt idx="61">
                  <c:v>64.447717343491945</c:v>
                </c:pt>
                <c:pt idx="62">
                  <c:v>65.153214199990444</c:v>
                </c:pt>
                <c:pt idx="63">
                  <c:v>65.150843255988121</c:v>
                </c:pt>
                <c:pt idx="64">
                  <c:v>64.697310891425985</c:v>
                </c:pt>
                <c:pt idx="65">
                  <c:v>62.410982095036047</c:v>
                </c:pt>
                <c:pt idx="66">
                  <c:v>61.198175328629915</c:v>
                </c:pt>
                <c:pt idx="67">
                  <c:v>60.364527475767758</c:v>
                </c:pt>
                <c:pt idx="68">
                  <c:v>59.467789475624514</c:v>
                </c:pt>
                <c:pt idx="69">
                  <c:v>59.438049712938287</c:v>
                </c:pt>
                <c:pt idx="70">
                  <c:v>60.434292094274326</c:v>
                </c:pt>
                <c:pt idx="71">
                  <c:v>58.954268362455146</c:v>
                </c:pt>
                <c:pt idx="72">
                  <c:v>68.531238635070125</c:v>
                </c:pt>
                <c:pt idx="73">
                  <c:v>67.986532082205386</c:v>
                </c:pt>
                <c:pt idx="74">
                  <c:v>68.63575604412668</c:v>
                </c:pt>
                <c:pt idx="75">
                  <c:v>70.744700626943327</c:v>
                </c:pt>
                <c:pt idx="76">
                  <c:v>71.116171407031572</c:v>
                </c:pt>
                <c:pt idx="77">
                  <c:v>69.061427349997331</c:v>
                </c:pt>
                <c:pt idx="78">
                  <c:v>66.221294780804868</c:v>
                </c:pt>
                <c:pt idx="79">
                  <c:v>63.873507697654432</c:v>
                </c:pt>
                <c:pt idx="80">
                  <c:v>62.983520370818745</c:v>
                </c:pt>
                <c:pt idx="81">
                  <c:v>64.778176933270615</c:v>
                </c:pt>
                <c:pt idx="82">
                  <c:v>65.645399682221353</c:v>
                </c:pt>
                <c:pt idx="83">
                  <c:v>63.740981358944381</c:v>
                </c:pt>
                <c:pt idx="84">
                  <c:v>64.630326571218049</c:v>
                </c:pt>
                <c:pt idx="85">
                  <c:v>59.730250661013706</c:v>
                </c:pt>
                <c:pt idx="86">
                  <c:v>57.937052288626049</c:v>
                </c:pt>
                <c:pt idx="87">
                  <c:v>59.170833708037776</c:v>
                </c:pt>
                <c:pt idx="88">
                  <c:v>59.728118426114939</c:v>
                </c:pt>
                <c:pt idx="89">
                  <c:v>57.970115270052368</c:v>
                </c:pt>
                <c:pt idx="90">
                  <c:v>56.29503328733967</c:v>
                </c:pt>
                <c:pt idx="91">
                  <c:v>57.952559231891115</c:v>
                </c:pt>
                <c:pt idx="92">
                  <c:v>58.694530675097809</c:v>
                </c:pt>
                <c:pt idx="93">
                  <c:v>58.351762532984615</c:v>
                </c:pt>
                <c:pt idx="94">
                  <c:v>57.35641925721108</c:v>
                </c:pt>
                <c:pt idx="95">
                  <c:v>57.648097166439925</c:v>
                </c:pt>
                <c:pt idx="96">
                  <c:v>58.498818810584289</c:v>
                </c:pt>
                <c:pt idx="97">
                  <c:v>59.247223439211645</c:v>
                </c:pt>
                <c:pt idx="98">
                  <c:v>60.339641997151617</c:v>
                </c:pt>
                <c:pt idx="99">
                  <c:v>63.093430607026008</c:v>
                </c:pt>
                <c:pt idx="100">
                  <c:v>62.17224723328048</c:v>
                </c:pt>
                <c:pt idx="101">
                  <c:v>59.982856209854766</c:v>
                </c:pt>
                <c:pt idx="102">
                  <c:v>58.090686754699227</c:v>
                </c:pt>
                <c:pt idx="103">
                  <c:v>57.046077473042409</c:v>
                </c:pt>
                <c:pt idx="104">
                  <c:v>56.554046795306341</c:v>
                </c:pt>
                <c:pt idx="105">
                  <c:v>56.219321083768186</c:v>
                </c:pt>
                <c:pt idx="106">
                  <c:v>56.8741265500244</c:v>
                </c:pt>
                <c:pt idx="107">
                  <c:v>60.217217729259467</c:v>
                </c:pt>
                <c:pt idx="108">
                  <c:v>58.583314942456084</c:v>
                </c:pt>
                <c:pt idx="109">
                  <c:v>57.566907993219026</c:v>
                </c:pt>
                <c:pt idx="110">
                  <c:v>58.986931821439022</c:v>
                </c:pt>
                <c:pt idx="111">
                  <c:v>59.415533502641416</c:v>
                </c:pt>
                <c:pt idx="112">
                  <c:v>60.901621755655661</c:v>
                </c:pt>
                <c:pt idx="113">
                  <c:v>60.678317200713607</c:v>
                </c:pt>
                <c:pt idx="114">
                  <c:v>62.228078515987619</c:v>
                </c:pt>
                <c:pt idx="115">
                  <c:v>62.275000448874053</c:v>
                </c:pt>
                <c:pt idx="116">
                  <c:v>60.202419997114177</c:v>
                </c:pt>
                <c:pt idx="117">
                  <c:v>59.030629487333833</c:v>
                </c:pt>
                <c:pt idx="118">
                  <c:v>57.812665291316186</c:v>
                </c:pt>
                <c:pt idx="119">
                  <c:v>57.541376357772663</c:v>
                </c:pt>
                <c:pt idx="120">
                  <c:v>59.197918833502982</c:v>
                </c:pt>
                <c:pt idx="121">
                  <c:v>59.467522190379661</c:v>
                </c:pt>
                <c:pt idx="122">
                  <c:v>62.297234582993049</c:v>
                </c:pt>
                <c:pt idx="123">
                  <c:v>62.47134494285983</c:v>
                </c:pt>
                <c:pt idx="124">
                  <c:v>61.743797620409666</c:v>
                </c:pt>
                <c:pt idx="125">
                  <c:v>61.145856655787199</c:v>
                </c:pt>
                <c:pt idx="126">
                  <c:v>63.147708652120329</c:v>
                </c:pt>
                <c:pt idx="127">
                  <c:v>62.971954640688999</c:v>
                </c:pt>
                <c:pt idx="128">
                  <c:v>63.556123879622596</c:v>
                </c:pt>
                <c:pt idx="129">
                  <c:v>66.07938924868526</c:v>
                </c:pt>
                <c:pt idx="130">
                  <c:v>64.738061782533762</c:v>
                </c:pt>
                <c:pt idx="131">
                  <c:v>65.685024286277041</c:v>
                </c:pt>
                <c:pt idx="132">
                  <c:v>65.987927054122096</c:v>
                </c:pt>
                <c:pt idx="133">
                  <c:v>66.252295599339561</c:v>
                </c:pt>
                <c:pt idx="134">
                  <c:v>66.016238797048061</c:v>
                </c:pt>
                <c:pt idx="135">
                  <c:v>67.563603641649607</c:v>
                </c:pt>
                <c:pt idx="136">
                  <c:v>68.001437219843851</c:v>
                </c:pt>
                <c:pt idx="137">
                  <c:v>67.562137279515881</c:v>
                </c:pt>
                <c:pt idx="138">
                  <c:v>64.700086464893687</c:v>
                </c:pt>
                <c:pt idx="139">
                  <c:v>65.127403484444173</c:v>
                </c:pt>
                <c:pt idx="140">
                  <c:v>71.488981937453687</c:v>
                </c:pt>
                <c:pt idx="141">
                  <c:v>74.891508438380001</c:v>
                </c:pt>
                <c:pt idx="142">
                  <c:v>72.546460364963039</c:v>
                </c:pt>
                <c:pt idx="143">
                  <c:v>71.890856095193257</c:v>
                </c:pt>
                <c:pt idx="144">
                  <c:v>73.40397925304022</c:v>
                </c:pt>
                <c:pt idx="145">
                  <c:v>74.04557710392335</c:v>
                </c:pt>
                <c:pt idx="146">
                  <c:v>78.580753259058639</c:v>
                </c:pt>
                <c:pt idx="147">
                  <c:v>80.111032102864087</c:v>
                </c:pt>
                <c:pt idx="148">
                  <c:v>81.19071912552451</c:v>
                </c:pt>
                <c:pt idx="149">
                  <c:v>77.782201829543808</c:v>
                </c:pt>
                <c:pt idx="150">
                  <c:v>75.185296091583126</c:v>
                </c:pt>
                <c:pt idx="151">
                  <c:v>71.099113218796077</c:v>
                </c:pt>
                <c:pt idx="152">
                  <c:v>71.82913203891016</c:v>
                </c:pt>
                <c:pt idx="153">
                  <c:v>71.211963321607783</c:v>
                </c:pt>
                <c:pt idx="154">
                  <c:v>73.097471418185108</c:v>
                </c:pt>
                <c:pt idx="155">
                  <c:v>76.94867231844853</c:v>
                </c:pt>
                <c:pt idx="156">
                  <c:v>76.506190259974034</c:v>
                </c:pt>
                <c:pt idx="157">
                  <c:v>79.020403355956915</c:v>
                </c:pt>
                <c:pt idx="158">
                  <c:v>80.939394567975015</c:v>
                </c:pt>
                <c:pt idx="159">
                  <c:v>78.496379464833609</c:v>
                </c:pt>
                <c:pt idx="160">
                  <c:v>79.541590275141886</c:v>
                </c:pt>
                <c:pt idx="161">
                  <c:v>75.929298518109107</c:v>
                </c:pt>
                <c:pt idx="162">
                  <c:v>75.522063823273399</c:v>
                </c:pt>
                <c:pt idx="163">
                  <c:v>74.045845755367637</c:v>
                </c:pt>
                <c:pt idx="164">
                  <c:v>74.155410894360372</c:v>
                </c:pt>
                <c:pt idx="165">
                  <c:v>73.964461306429257</c:v>
                </c:pt>
                <c:pt idx="166">
                  <c:v>73.187725597903764</c:v>
                </c:pt>
                <c:pt idx="167">
                  <c:v>74.39966144861252</c:v>
                </c:pt>
                <c:pt idx="168">
                  <c:v>75.85260958051235</c:v>
                </c:pt>
                <c:pt idx="169">
                  <c:v>77.400624853796714</c:v>
                </c:pt>
                <c:pt idx="170">
                  <c:v>78.342903926310228</c:v>
                </c:pt>
                <c:pt idx="171">
                  <c:v>81.640633356424686</c:v>
                </c:pt>
                <c:pt idx="172">
                  <c:v>87.815434514714383</c:v>
                </c:pt>
                <c:pt idx="173">
                  <c:v>85.465886180206738</c:v>
                </c:pt>
                <c:pt idx="174">
                  <c:v>84.690373610626409</c:v>
                </c:pt>
                <c:pt idx="175">
                  <c:v>82.955519940882326</c:v>
                </c:pt>
                <c:pt idx="176">
                  <c:v>82.457066262930198</c:v>
                </c:pt>
                <c:pt idx="177">
                  <c:v>82.737142223318713</c:v>
                </c:pt>
                <c:pt idx="178">
                  <c:v>84.741731896900802</c:v>
                </c:pt>
                <c:pt idx="179">
                  <c:v>84.915473349133563</c:v>
                </c:pt>
                <c:pt idx="180">
                  <c:v>86.566511310100225</c:v>
                </c:pt>
                <c:pt idx="181">
                  <c:v>88.488039675689009</c:v>
                </c:pt>
                <c:pt idx="182">
                  <c:v>88.275689522163901</c:v>
                </c:pt>
                <c:pt idx="183">
                  <c:v>92.066142544042066</c:v>
                </c:pt>
                <c:pt idx="184">
                  <c:v>91.341058902596785</c:v>
                </c:pt>
                <c:pt idx="185">
                  <c:v>91.487109167393157</c:v>
                </c:pt>
                <c:pt idx="186">
                  <c:v>93.301805424902824</c:v>
                </c:pt>
                <c:pt idx="187">
                  <c:v>92.760099418417028</c:v>
                </c:pt>
                <c:pt idx="188">
                  <c:v>96.640299665692027</c:v>
                </c:pt>
                <c:pt idx="189">
                  <c:v>99.50507120497798</c:v>
                </c:pt>
                <c:pt idx="190">
                  <c:v>100.73945632078933</c:v>
                </c:pt>
                <c:pt idx="191">
                  <c:v>105.86602389084958</c:v>
                </c:pt>
                <c:pt idx="192">
                  <c:v>108.70679203024841</c:v>
                </c:pt>
                <c:pt idx="193">
                  <c:v>113.95282459371958</c:v>
                </c:pt>
                <c:pt idx="194">
                  <c:v>119.45768525581845</c:v>
                </c:pt>
                <c:pt idx="195">
                  <c:v>119.81865853867414</c:v>
                </c:pt>
                <c:pt idx="196">
                  <c:v>122.03133872741347</c:v>
                </c:pt>
                <c:pt idx="197">
                  <c:v>124.85010634858104</c:v>
                </c:pt>
                <c:pt idx="198">
                  <c:v>124.28353753651147</c:v>
                </c:pt>
                <c:pt idx="199">
                  <c:v>114.76682658715519</c:v>
                </c:pt>
                <c:pt idx="200">
                  <c:v>106.98236803401105</c:v>
                </c:pt>
                <c:pt idx="201">
                  <c:v>94.016711382411344</c:v>
                </c:pt>
                <c:pt idx="202">
                  <c:v>88.265262039617809</c:v>
                </c:pt>
                <c:pt idx="203">
                  <c:v>87.855813890906276</c:v>
                </c:pt>
                <c:pt idx="204">
                  <c:v>88.878125134888819</c:v>
                </c:pt>
                <c:pt idx="205">
                  <c:v>85.039441215754252</c:v>
                </c:pt>
                <c:pt idx="206">
                  <c:v>86.548451028439914</c:v>
                </c:pt>
                <c:pt idx="207">
                  <c:v>92.763878301763427</c:v>
                </c:pt>
                <c:pt idx="208">
                  <c:v>99.234529810248546</c:v>
                </c:pt>
                <c:pt idx="209">
                  <c:v>97.722408369679115</c:v>
                </c:pt>
                <c:pt idx="210">
                  <c:v>93.940238202856136</c:v>
                </c:pt>
                <c:pt idx="211">
                  <c:v>92.284992127420296</c:v>
                </c:pt>
                <c:pt idx="212">
                  <c:v>90.719112328075511</c:v>
                </c:pt>
                <c:pt idx="213">
                  <c:v>93.482796753396954</c:v>
                </c:pt>
                <c:pt idx="214">
                  <c:v>96.122942323724018</c:v>
                </c:pt>
                <c:pt idx="215">
                  <c:v>97.692902178017661</c:v>
                </c:pt>
                <c:pt idx="216">
                  <c:v>98.518393838532972</c:v>
                </c:pt>
                <c:pt idx="217">
                  <c:v>98.346200068742576</c:v>
                </c:pt>
                <c:pt idx="218">
                  <c:v>101.25378668256616</c:v>
                </c:pt>
                <c:pt idx="219">
                  <c:v>103.79585780162009</c:v>
                </c:pt>
                <c:pt idx="220">
                  <c:v>100.18706314466569</c:v>
                </c:pt>
                <c:pt idx="221">
                  <c:v>96.353390708561477</c:v>
                </c:pt>
                <c:pt idx="222">
                  <c:v>102.12545867031344</c:v>
                </c:pt>
                <c:pt idx="223">
                  <c:v>104.4015206832873</c:v>
                </c:pt>
                <c:pt idx="224">
                  <c:v>109.67239266628133</c:v>
                </c:pt>
                <c:pt idx="225">
                  <c:v>113.51648059962476</c:v>
                </c:pt>
                <c:pt idx="226">
                  <c:v>114.62306697703596</c:v>
                </c:pt>
                <c:pt idx="227">
                  <c:v>121.91063862337239</c:v>
                </c:pt>
                <c:pt idx="228">
                  <c:v>125.78468233368295</c:v>
                </c:pt>
                <c:pt idx="229">
                  <c:v>129.46603235176758</c:v>
                </c:pt>
                <c:pt idx="230">
                  <c:v>128.41608480391875</c:v>
                </c:pt>
                <c:pt idx="231">
                  <c:v>132.80219211593132</c:v>
                </c:pt>
                <c:pt idx="232">
                  <c:v>129.79625148815614</c:v>
                </c:pt>
                <c:pt idx="233">
                  <c:v>127.85077536345601</c:v>
                </c:pt>
                <c:pt idx="234">
                  <c:v>126.96076018007869</c:v>
                </c:pt>
                <c:pt idx="235">
                  <c:v>126.56096371498175</c:v>
                </c:pt>
                <c:pt idx="236">
                  <c:v>120.63699399481941</c:v>
                </c:pt>
                <c:pt idx="237">
                  <c:v>118.24710845754521</c:v>
                </c:pt>
                <c:pt idx="238">
                  <c:v>118.05669557818973</c:v>
                </c:pt>
                <c:pt idx="239">
                  <c:v>115.07819537229739</c:v>
                </c:pt>
                <c:pt idx="240">
                  <c:v>117.84453180774153</c:v>
                </c:pt>
                <c:pt idx="241">
                  <c:v>120.59323284738623</c:v>
                </c:pt>
                <c:pt idx="242">
                  <c:v>123.09949405875805</c:v>
                </c:pt>
                <c:pt idx="243">
                  <c:v>122.16986095625131</c:v>
                </c:pt>
                <c:pt idx="244">
                  <c:v>116.5342386383212</c:v>
                </c:pt>
                <c:pt idx="245">
                  <c:v>116.75688980702866</c:v>
                </c:pt>
                <c:pt idx="246">
                  <c:v>123.55572981050605</c:v>
                </c:pt>
                <c:pt idx="247">
                  <c:v>124.87643965800201</c:v>
                </c:pt>
                <c:pt idx="248">
                  <c:v>122.34305021669648</c:v>
                </c:pt>
                <c:pt idx="249">
                  <c:v>121.5073146427973</c:v>
                </c:pt>
                <c:pt idx="250">
                  <c:v>120.52980956113988</c:v>
                </c:pt>
                <c:pt idx="251">
                  <c:v>120.66788241996602</c:v>
                </c:pt>
                <c:pt idx="252">
                  <c:v>122.09597533335727</c:v>
                </c:pt>
                <c:pt idx="253">
                  <c:v>121.33550462915659</c:v>
                </c:pt>
                <c:pt idx="254">
                  <c:v>121.5997756607396</c:v>
                </c:pt>
                <c:pt idx="255">
                  <c:v>124.07904589673198</c:v>
                </c:pt>
                <c:pt idx="256">
                  <c:v>126.57965712143468</c:v>
                </c:pt>
                <c:pt idx="257">
                  <c:v>124.59968267830176</c:v>
                </c:pt>
                <c:pt idx="258">
                  <c:v>122.60813788307756</c:v>
                </c:pt>
                <c:pt idx="259">
                  <c:v>119.28744551365416</c:v>
                </c:pt>
                <c:pt idx="260">
                  <c:v>115.60460280692234</c:v>
                </c:pt>
                <c:pt idx="261">
                  <c:v>114.89894005177693</c:v>
                </c:pt>
                <c:pt idx="262">
                  <c:v>115.95552423544113</c:v>
                </c:pt>
                <c:pt idx="263">
                  <c:v>117.22383919153249</c:v>
                </c:pt>
                <c:pt idx="264">
                  <c:v>117.76153423921374</c:v>
                </c:pt>
                <c:pt idx="265">
                  <c:v>121.05185958321108</c:v>
                </c:pt>
                <c:pt idx="266">
                  <c:v>128.09889023963868</c:v>
                </c:pt>
                <c:pt idx="267">
                  <c:v>130.63854601172844</c:v>
                </c:pt>
                <c:pt idx="268">
                  <c:v>125.38075779005692</c:v>
                </c:pt>
                <c:pt idx="269">
                  <c:v>122.51104979313055</c:v>
                </c:pt>
                <c:pt idx="270">
                  <c:v>119.78845841245418</c:v>
                </c:pt>
                <c:pt idx="271">
                  <c:v>114.20290111897754</c:v>
                </c:pt>
                <c:pt idx="272">
                  <c:v>112.02599069552654</c:v>
                </c:pt>
                <c:pt idx="273">
                  <c:v>111.37120063426255</c:v>
                </c:pt>
                <c:pt idx="274">
                  <c:v>111.11127218400821</c:v>
                </c:pt>
                <c:pt idx="275">
                  <c:v>109.18427183250064</c:v>
                </c:pt>
                <c:pt idx="276">
                  <c:v>104.53710202094211</c:v>
                </c:pt>
                <c:pt idx="277">
                  <c:v>101.53081644144117</c:v>
                </c:pt>
                <c:pt idx="278">
                  <c:v>98.953824602244197</c:v>
                </c:pt>
                <c:pt idx="279">
                  <c:v>100.88369550291691</c:v>
                </c:pt>
                <c:pt idx="280">
                  <c:v>100.7662559194556</c:v>
                </c:pt>
                <c:pt idx="281">
                  <c:v>100.30179498230194</c:v>
                </c:pt>
                <c:pt idx="282">
                  <c:v>100.15579315832466</c:v>
                </c:pt>
                <c:pt idx="283">
                  <c:v>97.086476707333503</c:v>
                </c:pt>
                <c:pt idx="284">
                  <c:v>96.290023318034102</c:v>
                </c:pt>
                <c:pt idx="285">
                  <c:v>96.824129614598888</c:v>
                </c:pt>
                <c:pt idx="286">
                  <c:v>92.771726312220267</c:v>
                </c:pt>
                <c:pt idx="287">
                  <c:v>92.353059783830545</c:v>
                </c:pt>
                <c:pt idx="288">
                  <c:v>92.319382649549951</c:v>
                </c:pt>
                <c:pt idx="289">
                  <c:v>93.628967327861588</c:v>
                </c:pt>
                <c:pt idx="290">
                  <c:v>97.082943643197424</c:v>
                </c:pt>
                <c:pt idx="291">
                  <c:v>100.06911140313098</c:v>
                </c:pt>
                <c:pt idx="292">
                  <c:v>101.44126822142564</c:v>
                </c:pt>
                <c:pt idx="293">
                  <c:v>103.57827172650637</c:v>
                </c:pt>
                <c:pt idx="294">
                  <c:v>103.88291064856783</c:v>
                </c:pt>
                <c:pt idx="295">
                  <c:v>102.12454834463537</c:v>
                </c:pt>
                <c:pt idx="296">
                  <c:v>101.70664702702703</c:v>
                </c:pt>
                <c:pt idx="297">
                  <c:v>100.64342220885253</c:v>
                </c:pt>
                <c:pt idx="298">
                  <c:v>101.19577735032286</c:v>
                </c:pt>
                <c:pt idx="299">
                  <c:v>102.3267494489226</c:v>
                </c:pt>
                <c:pt idx="300">
                  <c:v>106.5366290159841</c:v>
                </c:pt>
                <c:pt idx="301">
                  <c:v>107.02278794316925</c:v>
                </c:pt>
                <c:pt idx="302">
                  <c:v>103.43533644775873</c:v>
                </c:pt>
                <c:pt idx="303">
                  <c:v>102.80470979601672</c:v>
                </c:pt>
                <c:pt idx="304">
                  <c:v>105.2184556262368</c:v>
                </c:pt>
                <c:pt idx="305">
                  <c:v>104.5174124848143</c:v>
                </c:pt>
                <c:pt idx="306">
                  <c:v>106.86400798733676</c:v>
                </c:pt>
                <c:pt idx="307">
                  <c:v>102.08084936005673</c:v>
                </c:pt>
                <c:pt idx="308">
                  <c:v>100.84922316811497</c:v>
                </c:pt>
                <c:pt idx="309">
                  <c:v>101.65215499046518</c:v>
                </c:pt>
                <c:pt idx="310">
                  <c:v>102.29060043898988</c:v>
                </c:pt>
                <c:pt idx="311">
                  <c:v>102.2817265025389</c:v>
                </c:pt>
                <c:pt idx="312">
                  <c:v>105.81764855552785</c:v>
                </c:pt>
                <c:pt idx="313">
                  <c:v>105.89334425494337</c:v>
                </c:pt>
                <c:pt idx="314">
                  <c:v>106.90542239454022</c:v>
                </c:pt>
                <c:pt idx="315">
                  <c:v>106.71889200595579</c:v>
                </c:pt>
                <c:pt idx="316">
                  <c:v>108.3625263785131</c:v>
                </c:pt>
                <c:pt idx="317">
                  <c:v>104.08010576570329</c:v>
                </c:pt>
                <c:pt idx="318">
                  <c:v>101.33013955678165</c:v>
                </c:pt>
                <c:pt idx="319">
                  <c:v>97.361344418990285</c:v>
                </c:pt>
                <c:pt idx="320">
                  <c:v>98.62668218060314</c:v>
                </c:pt>
                <c:pt idx="321">
                  <c:v>100.42137832663246</c:v>
                </c:pt>
                <c:pt idx="322">
                  <c:v>95.855224223726736</c:v>
                </c:pt>
                <c:pt idx="323">
                  <c:v>98.689926328298</c:v>
                </c:pt>
                <c:pt idx="324">
                  <c:v>100.46654163406639</c:v>
                </c:pt>
                <c:pt idx="325">
                  <c:v>98.772205073072286</c:v>
                </c:pt>
                <c:pt idx="326">
                  <c:v>98.063109720746482</c:v>
                </c:pt>
                <c:pt idx="327">
                  <c:v>101.56920127626263</c:v>
                </c:pt>
                <c:pt idx="328">
                  <c:v>98.094289080567989</c:v>
                </c:pt>
                <c:pt idx="329">
                  <c:v>100.21284140868016</c:v>
                </c:pt>
                <c:pt idx="330">
                  <c:v>100.2719739356133</c:v>
                </c:pt>
                <c:pt idx="331">
                  <c:v>98.260429796590472</c:v>
                </c:pt>
                <c:pt idx="332">
                  <c:v>96.053057750248115</c:v>
                </c:pt>
                <c:pt idx="333">
                  <c:v>96.382199931220526</c:v>
                </c:pt>
                <c:pt idx="334">
                  <c:v>100.27764315792746</c:v>
                </c:pt>
                <c:pt idx="335">
                  <c:v>104.0190841424938</c:v>
                </c:pt>
                <c:pt idx="336">
                  <c:v>105.40256283011389</c:v>
                </c:pt>
                <c:pt idx="337">
                  <c:v>101.11147552545198</c:v>
                </c:pt>
                <c:pt idx="338">
                  <c:v>97.199982808691146</c:v>
                </c:pt>
                <c:pt idx="339">
                  <c:v>92.933629655479891</c:v>
                </c:pt>
                <c:pt idx="340">
                  <c:v>96.516705860841654</c:v>
                </c:pt>
                <c:pt idx="341">
                  <c:v>99.805667792515706</c:v>
                </c:pt>
                <c:pt idx="342">
                  <c:v>97.635717510503255</c:v>
                </c:pt>
                <c:pt idx="343">
                  <c:v>98.623679633801984</c:v>
                </c:pt>
                <c:pt idx="344">
                  <c:v>99.999652910512665</c:v>
                </c:pt>
                <c:pt idx="345">
                  <c:v>105.34815253706842</c:v>
                </c:pt>
                <c:pt idx="346">
                  <c:v>108.41477375446766</c:v>
                </c:pt>
                <c:pt idx="347">
                  <c:v>109.50403433667918</c:v>
                </c:pt>
                <c:pt idx="348">
                  <c:v>116.39526658466944</c:v>
                </c:pt>
                <c:pt idx="349">
                  <c:v>119.44808114804745</c:v>
                </c:pt>
                <c:pt idx="350">
                  <c:v>122.22937330775773</c:v>
                </c:pt>
                <c:pt idx="351">
                  <c:v>129.69597217438161</c:v>
                </c:pt>
                <c:pt idx="352">
                  <c:v>135.19609458370022</c:v>
                </c:pt>
                <c:pt idx="353">
                  <c:v>127.65298646007888</c:v>
                </c:pt>
                <c:pt idx="354">
                  <c:v>128.97285488122537</c:v>
                </c:pt>
                <c:pt idx="355">
                  <c:v>131.47860314097554</c:v>
                </c:pt>
                <c:pt idx="356">
                  <c:v>127.01461309023568</c:v>
                </c:pt>
                <c:pt idx="357">
                  <c:v>127.95397847607263</c:v>
                </c:pt>
                <c:pt idx="358">
                  <c:v>129.71233547700052</c:v>
                </c:pt>
                <c:pt idx="359">
                  <c:v>133.45845876956955</c:v>
                </c:pt>
                <c:pt idx="360">
                  <c:v>139.89282990779023</c:v>
                </c:pt>
                <c:pt idx="361">
                  <c:v>147.14727363408778</c:v>
                </c:pt>
                <c:pt idx="362">
                  <c:v>157.58518585144296</c:v>
                </c:pt>
                <c:pt idx="363">
                  <c:v>161.73329400687118</c:v>
                </c:pt>
                <c:pt idx="364">
                  <c:v>158.76568478209018</c:v>
                </c:pt>
                <c:pt idx="365">
                  <c:v>152.94873069819397</c:v>
                </c:pt>
                <c:pt idx="366">
                  <c:v>141.56400376393987</c:v>
                </c:pt>
                <c:pt idx="367">
                  <c:v>138.31465473210923</c:v>
                </c:pt>
                <c:pt idx="368">
                  <c:v>134.11908059031268</c:v>
                </c:pt>
                <c:pt idx="369">
                  <c:v>134.81965026600753</c:v>
                </c:pt>
              </c:numCache>
            </c:numRef>
          </c:val>
          <c:smooth val="0"/>
          <c:extLst>
            <c:ext xmlns:c16="http://schemas.microsoft.com/office/drawing/2014/chart" uri="{C3380CC4-5D6E-409C-BE32-E72D297353CC}">
              <c16:uniqueId val="{00000001-9AA4-4B11-A818-635C8FEF97AC}"/>
            </c:ext>
          </c:extLst>
        </c:ser>
        <c:ser>
          <c:idx val="2"/>
          <c:order val="2"/>
          <c:tx>
            <c:v>Metals</c:v>
          </c:tx>
          <c:spPr>
            <a:ln w="28575" cap="rnd">
              <a:solidFill>
                <a:schemeClr val="accent3"/>
              </a:solidFill>
              <a:round/>
            </a:ln>
            <a:effectLst/>
          </c:spPr>
          <c:marker>
            <c:symbol val="none"/>
          </c:marker>
          <c:val>
            <c:numRef>
              <c:f>'[external-datanovember.xls]External'!$M$29:$M$398</c:f>
              <c:numCache>
                <c:formatCode>0.00</c:formatCode>
                <c:ptCount val="370"/>
                <c:pt idx="0">
                  <c:v>46.948672994708289</c:v>
                </c:pt>
                <c:pt idx="1">
                  <c:v>48.319411967610378</c:v>
                </c:pt>
                <c:pt idx="2">
                  <c:v>48.220121168463727</c:v>
                </c:pt>
                <c:pt idx="3">
                  <c:v>48.628629369332785</c:v>
                </c:pt>
                <c:pt idx="4">
                  <c:v>48.605567895422219</c:v>
                </c:pt>
                <c:pt idx="5">
                  <c:v>48.725490658085846</c:v>
                </c:pt>
                <c:pt idx="6">
                  <c:v>50.821034809633026</c:v>
                </c:pt>
                <c:pt idx="7">
                  <c:v>50.472096821002076</c:v>
                </c:pt>
                <c:pt idx="8">
                  <c:v>49.130352306193636</c:v>
                </c:pt>
                <c:pt idx="9">
                  <c:v>45.975917299211908</c:v>
                </c:pt>
                <c:pt idx="10">
                  <c:v>43.914144156742061</c:v>
                </c:pt>
                <c:pt idx="11">
                  <c:v>44.786188472452736</c:v>
                </c:pt>
                <c:pt idx="12">
                  <c:v>44.413027544764816</c:v>
                </c:pt>
                <c:pt idx="13">
                  <c:v>44.189634678355844</c:v>
                </c:pt>
                <c:pt idx="14">
                  <c:v>43.044749344688924</c:v>
                </c:pt>
                <c:pt idx="15">
                  <c:v>41.503494555320856</c:v>
                </c:pt>
                <c:pt idx="16">
                  <c:v>40.280539751053063</c:v>
                </c:pt>
                <c:pt idx="17">
                  <c:v>40.556911426504364</c:v>
                </c:pt>
                <c:pt idx="18">
                  <c:v>40.604021637375389</c:v>
                </c:pt>
                <c:pt idx="19">
                  <c:v>39.968848361015908</c:v>
                </c:pt>
                <c:pt idx="20">
                  <c:v>38.382243067232395</c:v>
                </c:pt>
                <c:pt idx="21">
                  <c:v>37.064629065757906</c:v>
                </c:pt>
                <c:pt idx="22">
                  <c:v>36.746247874838033</c:v>
                </c:pt>
                <c:pt idx="23">
                  <c:v>38.664919350711926</c:v>
                </c:pt>
                <c:pt idx="24">
                  <c:v>40.150482662467752</c:v>
                </c:pt>
                <c:pt idx="25">
                  <c:v>41.694692274486634</c:v>
                </c:pt>
                <c:pt idx="26">
                  <c:v>41.785277852172555</c:v>
                </c:pt>
                <c:pt idx="27">
                  <c:v>41.211744807544306</c:v>
                </c:pt>
                <c:pt idx="28">
                  <c:v>44.198987716944586</c:v>
                </c:pt>
                <c:pt idx="29">
                  <c:v>46.676735655369512</c:v>
                </c:pt>
                <c:pt idx="30">
                  <c:v>47.969428456374786</c:v>
                </c:pt>
                <c:pt idx="31">
                  <c:v>46.855500390338605</c:v>
                </c:pt>
                <c:pt idx="32">
                  <c:v>49.456092159442711</c:v>
                </c:pt>
                <c:pt idx="33">
                  <c:v>51.566031655959783</c:v>
                </c:pt>
                <c:pt idx="34">
                  <c:v>56.15808771844128</c:v>
                </c:pt>
                <c:pt idx="35">
                  <c:v>58.490421847791005</c:v>
                </c:pt>
                <c:pt idx="36">
                  <c:v>62.257141407436677</c:v>
                </c:pt>
                <c:pt idx="37">
                  <c:v>58.108060785847577</c:v>
                </c:pt>
                <c:pt idx="38">
                  <c:v>56.360972381353562</c:v>
                </c:pt>
                <c:pt idx="39">
                  <c:v>56.665862304229819</c:v>
                </c:pt>
                <c:pt idx="40">
                  <c:v>54.931480490855186</c:v>
                </c:pt>
                <c:pt idx="41">
                  <c:v>57.080114821871383</c:v>
                </c:pt>
                <c:pt idx="42">
                  <c:v>59.434986206061218</c:v>
                </c:pt>
                <c:pt idx="43">
                  <c:v>59.841722869704718</c:v>
                </c:pt>
                <c:pt idx="44">
                  <c:v>57.060502896598351</c:v>
                </c:pt>
                <c:pt idx="45">
                  <c:v>55.276278005039337</c:v>
                </c:pt>
                <c:pt idx="46">
                  <c:v>57.043952520856621</c:v>
                </c:pt>
                <c:pt idx="47">
                  <c:v>56.148455765846599</c:v>
                </c:pt>
                <c:pt idx="48">
                  <c:v>53.667571328328684</c:v>
                </c:pt>
                <c:pt idx="49">
                  <c:v>54.351161075392419</c:v>
                </c:pt>
                <c:pt idx="50">
                  <c:v>54.566432219807893</c:v>
                </c:pt>
                <c:pt idx="51">
                  <c:v>54.475963648340745</c:v>
                </c:pt>
                <c:pt idx="52">
                  <c:v>55.009485600173306</c:v>
                </c:pt>
                <c:pt idx="53">
                  <c:v>50.4179483807509</c:v>
                </c:pt>
                <c:pt idx="54">
                  <c:v>48.216150426631671</c:v>
                </c:pt>
                <c:pt idx="55">
                  <c:v>48.306050429495137</c:v>
                </c:pt>
                <c:pt idx="56">
                  <c:v>47.520867489850779</c:v>
                </c:pt>
                <c:pt idx="57">
                  <c:v>46.516446200672071</c:v>
                </c:pt>
                <c:pt idx="58">
                  <c:v>49.034830695612293</c:v>
                </c:pt>
                <c:pt idx="59">
                  <c:v>49.185774385229024</c:v>
                </c:pt>
                <c:pt idx="60">
                  <c:v>51.625009478774075</c:v>
                </c:pt>
                <c:pt idx="61">
                  <c:v>52.472329801668032</c:v>
                </c:pt>
                <c:pt idx="62">
                  <c:v>53.37682522695691</c:v>
                </c:pt>
                <c:pt idx="63">
                  <c:v>51.663954813213884</c:v>
                </c:pt>
                <c:pt idx="64">
                  <c:v>53.310893424629825</c:v>
                </c:pt>
                <c:pt idx="65">
                  <c:v>52.803149595583491</c:v>
                </c:pt>
                <c:pt idx="66">
                  <c:v>52.086144655664228</c:v>
                </c:pt>
                <c:pt idx="67">
                  <c:v>52.144267758580177</c:v>
                </c:pt>
                <c:pt idx="68">
                  <c:v>50.049421438067391</c:v>
                </c:pt>
                <c:pt idx="69">
                  <c:v>48.669989485267578</c:v>
                </c:pt>
                <c:pt idx="70">
                  <c:v>47.388003946224188</c:v>
                </c:pt>
                <c:pt idx="71">
                  <c:v>45.282331839181261</c:v>
                </c:pt>
                <c:pt idx="72">
                  <c:v>43.939869722394342</c:v>
                </c:pt>
                <c:pt idx="73">
                  <c:v>43.210951507484666</c:v>
                </c:pt>
                <c:pt idx="74">
                  <c:v>43.543010715763565</c:v>
                </c:pt>
                <c:pt idx="75">
                  <c:v>43.842566583974843</c:v>
                </c:pt>
                <c:pt idx="76">
                  <c:v>42.341750486872435</c:v>
                </c:pt>
                <c:pt idx="77">
                  <c:v>40.491138212465323</c:v>
                </c:pt>
                <c:pt idx="78">
                  <c:v>40.43209953084218</c:v>
                </c:pt>
                <c:pt idx="79">
                  <c:v>39.770859606206187</c:v>
                </c:pt>
                <c:pt idx="80">
                  <c:v>40.085856582308139</c:v>
                </c:pt>
                <c:pt idx="81">
                  <c:v>38.711779395269801</c:v>
                </c:pt>
                <c:pt idx="82">
                  <c:v>38.777053061583416</c:v>
                </c:pt>
                <c:pt idx="83">
                  <c:v>37.272758868823857</c:v>
                </c:pt>
                <c:pt idx="84">
                  <c:v>36.397901769957684</c:v>
                </c:pt>
                <c:pt idx="85">
                  <c:v>36.917985349646727</c:v>
                </c:pt>
                <c:pt idx="86">
                  <c:v>37.299843026900334</c:v>
                </c:pt>
                <c:pt idx="87">
                  <c:v>38.769808792548517</c:v>
                </c:pt>
                <c:pt idx="88">
                  <c:v>39.986860379655461</c:v>
                </c:pt>
                <c:pt idx="89">
                  <c:v>39.018172612183527</c:v>
                </c:pt>
                <c:pt idx="90">
                  <c:v>41.904732519579028</c:v>
                </c:pt>
                <c:pt idx="91">
                  <c:v>43.136453665573299</c:v>
                </c:pt>
                <c:pt idx="92">
                  <c:v>45.284138699606771</c:v>
                </c:pt>
                <c:pt idx="93">
                  <c:v>45.088045415045457</c:v>
                </c:pt>
                <c:pt idx="94">
                  <c:v>45.822383153690524</c:v>
                </c:pt>
                <c:pt idx="95">
                  <c:v>47.04800328592129</c:v>
                </c:pt>
                <c:pt idx="96">
                  <c:v>49.224077495374594</c:v>
                </c:pt>
                <c:pt idx="97">
                  <c:v>50.275821050008574</c:v>
                </c:pt>
                <c:pt idx="98">
                  <c:v>49.805626333407126</c:v>
                </c:pt>
                <c:pt idx="99">
                  <c:v>47.738663306084497</c:v>
                </c:pt>
                <c:pt idx="100">
                  <c:v>48.8968798629259</c:v>
                </c:pt>
                <c:pt idx="101">
                  <c:v>46.758788632418309</c:v>
                </c:pt>
                <c:pt idx="102">
                  <c:v>47.341899375489525</c:v>
                </c:pt>
                <c:pt idx="103">
                  <c:v>47.330524088619761</c:v>
                </c:pt>
                <c:pt idx="104">
                  <c:v>49.503901130914166</c:v>
                </c:pt>
                <c:pt idx="105">
                  <c:v>46.642271360561843</c:v>
                </c:pt>
                <c:pt idx="106">
                  <c:v>45.256695942638892</c:v>
                </c:pt>
                <c:pt idx="107">
                  <c:v>46.413624824466183</c:v>
                </c:pt>
                <c:pt idx="108">
                  <c:v>46.202092619295478</c:v>
                </c:pt>
                <c:pt idx="109">
                  <c:v>45.481200397885409</c:v>
                </c:pt>
                <c:pt idx="110">
                  <c:v>43.998091610539547</c:v>
                </c:pt>
                <c:pt idx="111">
                  <c:v>43.58306291515796</c:v>
                </c:pt>
                <c:pt idx="112">
                  <c:v>44.887396514958262</c:v>
                </c:pt>
                <c:pt idx="113">
                  <c:v>43.086933179923328</c:v>
                </c:pt>
                <c:pt idx="114">
                  <c:v>41.076991493233095</c:v>
                </c:pt>
                <c:pt idx="115">
                  <c:v>39.745043683848856</c:v>
                </c:pt>
                <c:pt idx="116">
                  <c:v>38.523537525596758</c:v>
                </c:pt>
                <c:pt idx="117">
                  <c:v>37.289398705461515</c:v>
                </c:pt>
                <c:pt idx="118">
                  <c:v>38.560568329420541</c:v>
                </c:pt>
                <c:pt idx="119">
                  <c:v>39.096092038061094</c:v>
                </c:pt>
                <c:pt idx="120">
                  <c:v>40.402698044035411</c:v>
                </c:pt>
                <c:pt idx="121">
                  <c:v>40.60334212956996</c:v>
                </c:pt>
                <c:pt idx="122">
                  <c:v>41.968438995019568</c:v>
                </c:pt>
                <c:pt idx="123">
                  <c:v>41.988457907499409</c:v>
                </c:pt>
                <c:pt idx="124">
                  <c:v>41.470369989130496</c:v>
                </c:pt>
                <c:pt idx="125">
                  <c:v>42.379223669207192</c:v>
                </c:pt>
                <c:pt idx="126">
                  <c:v>41.884457708849808</c:v>
                </c:pt>
                <c:pt idx="127">
                  <c:v>40.128030496745197</c:v>
                </c:pt>
                <c:pt idx="128">
                  <c:v>40.108176019804731</c:v>
                </c:pt>
                <c:pt idx="129">
                  <c:v>40.439486266554624</c:v>
                </c:pt>
                <c:pt idx="130">
                  <c:v>42.267609234232033</c:v>
                </c:pt>
                <c:pt idx="131">
                  <c:v>42.317468675725458</c:v>
                </c:pt>
                <c:pt idx="132">
                  <c:v>44.545786588216103</c:v>
                </c:pt>
                <c:pt idx="133">
                  <c:v>45.921225005375405</c:v>
                </c:pt>
                <c:pt idx="134">
                  <c:v>45.151396578331223</c:v>
                </c:pt>
                <c:pt idx="135">
                  <c:v>43.642008262189478</c:v>
                </c:pt>
                <c:pt idx="136">
                  <c:v>45.382969847686063</c:v>
                </c:pt>
                <c:pt idx="137">
                  <c:v>46.380451132767568</c:v>
                </c:pt>
                <c:pt idx="138">
                  <c:v>47.005522875793268</c:v>
                </c:pt>
                <c:pt idx="139">
                  <c:v>48.042890920574095</c:v>
                </c:pt>
                <c:pt idx="140">
                  <c:v>48.749950088929019</c:v>
                </c:pt>
                <c:pt idx="141">
                  <c:v>51.909958114232822</c:v>
                </c:pt>
                <c:pt idx="142">
                  <c:v>54.64529583837232</c:v>
                </c:pt>
                <c:pt idx="143">
                  <c:v>59.217721876671931</c:v>
                </c:pt>
                <c:pt idx="144">
                  <c:v>64.337302948235347</c:v>
                </c:pt>
                <c:pt idx="145">
                  <c:v>67.686743885248561</c:v>
                </c:pt>
                <c:pt idx="146">
                  <c:v>67.603595916554568</c:v>
                </c:pt>
                <c:pt idx="147">
                  <c:v>66.239980268057664</c:v>
                </c:pt>
                <c:pt idx="148">
                  <c:v>62.2859872371398</c:v>
                </c:pt>
                <c:pt idx="149">
                  <c:v>65.540190553020039</c:v>
                </c:pt>
                <c:pt idx="150">
                  <c:v>68.331077174839933</c:v>
                </c:pt>
                <c:pt idx="151">
                  <c:v>66.553173028464926</c:v>
                </c:pt>
                <c:pt idx="152">
                  <c:v>67.110515687760511</c:v>
                </c:pt>
                <c:pt idx="153">
                  <c:v>70.176892067962427</c:v>
                </c:pt>
                <c:pt idx="154">
                  <c:v>70.338653457472773</c:v>
                </c:pt>
                <c:pt idx="155">
                  <c:v>70.563798387445971</c:v>
                </c:pt>
                <c:pt idx="156">
                  <c:v>77.734824823539384</c:v>
                </c:pt>
                <c:pt idx="157">
                  <c:v>80.009993630377096</c:v>
                </c:pt>
                <c:pt idx="158">
                  <c:v>82.993805218833756</c:v>
                </c:pt>
                <c:pt idx="159">
                  <c:v>82.036843376659817</c:v>
                </c:pt>
                <c:pt idx="160">
                  <c:v>81.234577715781427</c:v>
                </c:pt>
                <c:pt idx="161">
                  <c:v>81.884273650921571</c:v>
                </c:pt>
                <c:pt idx="162">
                  <c:v>80.498180901679561</c:v>
                </c:pt>
                <c:pt idx="163">
                  <c:v>83.37168385703626</c:v>
                </c:pt>
                <c:pt idx="164">
                  <c:v>82.816648607019943</c:v>
                </c:pt>
                <c:pt idx="165">
                  <c:v>83.315716448907281</c:v>
                </c:pt>
                <c:pt idx="166">
                  <c:v>85.990768306950827</c:v>
                </c:pt>
                <c:pt idx="167">
                  <c:v>92.202780532274176</c:v>
                </c:pt>
                <c:pt idx="168">
                  <c:v>99.69905222386997</c:v>
                </c:pt>
                <c:pt idx="169">
                  <c:v>102.61365190869364</c:v>
                </c:pt>
                <c:pt idx="170">
                  <c:v>103.99812855756804</c:v>
                </c:pt>
                <c:pt idx="171">
                  <c:v>119.39113510505508</c:v>
                </c:pt>
                <c:pt idx="172">
                  <c:v>136.89720323672498</c:v>
                </c:pt>
                <c:pt idx="173">
                  <c:v>126.64113259911414</c:v>
                </c:pt>
                <c:pt idx="174">
                  <c:v>137.66057780502422</c:v>
                </c:pt>
                <c:pt idx="175">
                  <c:v>142.82250972243324</c:v>
                </c:pt>
                <c:pt idx="176">
                  <c:v>142.87717833457043</c:v>
                </c:pt>
                <c:pt idx="177">
                  <c:v>149.07831363486818</c:v>
                </c:pt>
                <c:pt idx="178">
                  <c:v>148.02296125685803</c:v>
                </c:pt>
                <c:pt idx="179">
                  <c:v>151.44388105203524</c:v>
                </c:pt>
                <c:pt idx="180">
                  <c:v>148.67777809474364</c:v>
                </c:pt>
                <c:pt idx="181">
                  <c:v>154.1996192039862</c:v>
                </c:pt>
                <c:pt idx="182">
                  <c:v>166.32276122034966</c:v>
                </c:pt>
                <c:pt idx="183">
                  <c:v>183.18135595868421</c:v>
                </c:pt>
                <c:pt idx="184">
                  <c:v>186.78185060478498</c:v>
                </c:pt>
                <c:pt idx="185">
                  <c:v>174.08028732330342</c:v>
                </c:pt>
                <c:pt idx="186">
                  <c:v>167.72079292029107</c:v>
                </c:pt>
                <c:pt idx="187">
                  <c:v>152.09913826163279</c:v>
                </c:pt>
                <c:pt idx="188">
                  <c:v>150.84393579745043</c:v>
                </c:pt>
                <c:pt idx="189">
                  <c:v>155.76006856199734</c:v>
                </c:pt>
                <c:pt idx="190">
                  <c:v>149.16057138867961</c:v>
                </c:pt>
                <c:pt idx="191">
                  <c:v>139.15181692825504</c:v>
                </c:pt>
                <c:pt idx="192">
                  <c:v>156.90459660640425</c:v>
                </c:pt>
                <c:pt idx="193">
                  <c:v>165.5143281829738</c:v>
                </c:pt>
                <c:pt idx="194">
                  <c:v>174.41412631365205</c:v>
                </c:pt>
                <c:pt idx="195">
                  <c:v>171.54232437222663</c:v>
                </c:pt>
                <c:pt idx="196">
                  <c:v>162.70378335905724</c:v>
                </c:pt>
                <c:pt idx="197">
                  <c:v>157.12571848642389</c:v>
                </c:pt>
                <c:pt idx="198">
                  <c:v>155.87361969045165</c:v>
                </c:pt>
                <c:pt idx="199">
                  <c:v>146.08512797890981</c:v>
                </c:pt>
                <c:pt idx="200">
                  <c:v>138.06631849609261</c:v>
                </c:pt>
                <c:pt idx="201">
                  <c:v>110.79832496067742</c:v>
                </c:pt>
                <c:pt idx="202">
                  <c:v>98.339228187001169</c:v>
                </c:pt>
                <c:pt idx="203">
                  <c:v>94.042542386034057</c:v>
                </c:pt>
                <c:pt idx="204">
                  <c:v>97.936213277689774</c:v>
                </c:pt>
                <c:pt idx="205">
                  <c:v>96.884384579203314</c:v>
                </c:pt>
                <c:pt idx="206">
                  <c:v>92.759414291668435</c:v>
                </c:pt>
                <c:pt idx="207">
                  <c:v>98.17178876409865</c:v>
                </c:pt>
                <c:pt idx="208">
                  <c:v>104.04454172187283</c:v>
                </c:pt>
                <c:pt idx="209">
                  <c:v>116.00359799834092</c:v>
                </c:pt>
                <c:pt idx="210">
                  <c:v>125.68529304582302</c:v>
                </c:pt>
                <c:pt idx="211">
                  <c:v>145.92736491721726</c:v>
                </c:pt>
                <c:pt idx="212">
                  <c:v>134.42275253074516</c:v>
                </c:pt>
                <c:pt idx="213">
                  <c:v>140.59150731263199</c:v>
                </c:pt>
                <c:pt idx="214">
                  <c:v>148.55624966199366</c:v>
                </c:pt>
                <c:pt idx="215">
                  <c:v>156.25644627407564</c:v>
                </c:pt>
                <c:pt idx="216">
                  <c:v>171.66321695234703</c:v>
                </c:pt>
                <c:pt idx="217">
                  <c:v>167.30478016002482</c:v>
                </c:pt>
                <c:pt idx="218">
                  <c:v>183.10133570298322</c:v>
                </c:pt>
                <c:pt idx="219">
                  <c:v>207.58511958420451</c:v>
                </c:pt>
                <c:pt idx="220">
                  <c:v>187.03336277705984</c:v>
                </c:pt>
                <c:pt idx="221">
                  <c:v>170.55372279363118</c:v>
                </c:pt>
                <c:pt idx="222">
                  <c:v>164.20572406389692</c:v>
                </c:pt>
                <c:pt idx="223">
                  <c:v>182.31253494832049</c:v>
                </c:pt>
                <c:pt idx="224">
                  <c:v>184.66615598204845</c:v>
                </c:pt>
                <c:pt idx="225">
                  <c:v>195.44561957844172</c:v>
                </c:pt>
                <c:pt idx="226">
                  <c:v>202.8216069869236</c:v>
                </c:pt>
                <c:pt idx="227">
                  <c:v>213.35857333467814</c:v>
                </c:pt>
                <c:pt idx="228">
                  <c:v>225.0573352323446</c:v>
                </c:pt>
                <c:pt idx="229">
                  <c:v>234.68768189901016</c:v>
                </c:pt>
                <c:pt idx="230">
                  <c:v>221.39146368208085</c:v>
                </c:pt>
                <c:pt idx="231">
                  <c:v>226.94933233024102</c:v>
                </c:pt>
                <c:pt idx="232">
                  <c:v>218.56779417007394</c:v>
                </c:pt>
                <c:pt idx="233">
                  <c:v>214.18751535300549</c:v>
                </c:pt>
                <c:pt idx="234">
                  <c:v>219.01101015761867</c:v>
                </c:pt>
                <c:pt idx="235">
                  <c:v>213.29557852029271</c:v>
                </c:pt>
                <c:pt idx="236">
                  <c:v>206.26628954824653</c:v>
                </c:pt>
                <c:pt idx="237">
                  <c:v>182.79272309706354</c:v>
                </c:pt>
                <c:pt idx="238">
                  <c:v>175.17952256386903</c:v>
                </c:pt>
                <c:pt idx="239">
                  <c:v>174.89437150549674</c:v>
                </c:pt>
                <c:pt idx="240">
                  <c:v>183.21517486505689</c:v>
                </c:pt>
                <c:pt idx="241">
                  <c:v>187.27385824858268</c:v>
                </c:pt>
                <c:pt idx="242">
                  <c:v>187.70109106417283</c:v>
                </c:pt>
                <c:pt idx="243">
                  <c:v>186.17544785226792</c:v>
                </c:pt>
                <c:pt idx="244">
                  <c:v>176.15120747384736</c:v>
                </c:pt>
                <c:pt idx="245">
                  <c:v>169.98041123816992</c:v>
                </c:pt>
                <c:pt idx="246">
                  <c:v>166.35899971121523</c:v>
                </c:pt>
                <c:pt idx="247">
                  <c:v>154.20961964448682</c:v>
                </c:pt>
                <c:pt idx="248">
                  <c:v>156.92482090617159</c:v>
                </c:pt>
                <c:pt idx="249">
                  <c:v>162.63341061421184</c:v>
                </c:pt>
                <c:pt idx="250">
                  <c:v>162.69193832813815</c:v>
                </c:pt>
                <c:pt idx="251">
                  <c:v>171.85464571819227</c:v>
                </c:pt>
                <c:pt idx="252">
                  <c:v>183.41363306458015</c:v>
                </c:pt>
                <c:pt idx="253">
                  <c:v>185.80548519520644</c:v>
                </c:pt>
                <c:pt idx="254">
                  <c:v>172.55957454233271</c:v>
                </c:pt>
                <c:pt idx="255">
                  <c:v>166.76636709970964</c:v>
                </c:pt>
                <c:pt idx="256">
                  <c:v>159.23665834184712</c:v>
                </c:pt>
                <c:pt idx="257">
                  <c:v>152.21171064458161</c:v>
                </c:pt>
                <c:pt idx="258">
                  <c:v>155.91798851580947</c:v>
                </c:pt>
                <c:pt idx="259">
                  <c:v>163.35895747504452</c:v>
                </c:pt>
                <c:pt idx="260">
                  <c:v>160.86286437538556</c:v>
                </c:pt>
                <c:pt idx="261">
                  <c:v>161.12109614272276</c:v>
                </c:pt>
                <c:pt idx="262">
                  <c:v>161.39402232968087</c:v>
                </c:pt>
                <c:pt idx="263">
                  <c:v>162.38486296209288</c:v>
                </c:pt>
                <c:pt idx="264">
                  <c:v>159.42779896331297</c:v>
                </c:pt>
                <c:pt idx="265">
                  <c:v>155.16469472624712</c:v>
                </c:pt>
                <c:pt idx="266">
                  <c:v>147.98232135232249</c:v>
                </c:pt>
                <c:pt idx="267">
                  <c:v>152.94753476198161</c:v>
                </c:pt>
                <c:pt idx="268">
                  <c:v>148.8333477621843</c:v>
                </c:pt>
                <c:pt idx="269">
                  <c:v>145.3522589111823</c:v>
                </c:pt>
                <c:pt idx="270">
                  <c:v>149.66885375684629</c:v>
                </c:pt>
                <c:pt idx="271">
                  <c:v>148.71957426050906</c:v>
                </c:pt>
                <c:pt idx="272">
                  <c:v>141.533073191234</c:v>
                </c:pt>
                <c:pt idx="273">
                  <c:v>134.98948135378507</c:v>
                </c:pt>
                <c:pt idx="274">
                  <c:v>132.78014980329681</c:v>
                </c:pt>
                <c:pt idx="275">
                  <c:v>125.87632448104586</c:v>
                </c:pt>
                <c:pt idx="276">
                  <c:v>120.26763392248431</c:v>
                </c:pt>
                <c:pt idx="277">
                  <c:v>115.80855490697304</c:v>
                </c:pt>
                <c:pt idx="278">
                  <c:v>113.23017846738291</c:v>
                </c:pt>
                <c:pt idx="279">
                  <c:v>111.07290804929457</c:v>
                </c:pt>
                <c:pt idx="280">
                  <c:v>117.01630292815963</c:v>
                </c:pt>
                <c:pt idx="281">
                  <c:v>111.96508174677936</c:v>
                </c:pt>
                <c:pt idx="282">
                  <c:v>102.11717167630133</c:v>
                </c:pt>
                <c:pt idx="283">
                  <c:v>100.69209081115039</c:v>
                </c:pt>
                <c:pt idx="284">
                  <c:v>100.78193889706249</c:v>
                </c:pt>
                <c:pt idx="285">
                  <c:v>98.074391896142444</c:v>
                </c:pt>
                <c:pt idx="286">
                  <c:v>90.213975294242474</c:v>
                </c:pt>
                <c:pt idx="287">
                  <c:v>86.013738406525448</c:v>
                </c:pt>
                <c:pt idx="288">
                  <c:v>85.259094514423865</c:v>
                </c:pt>
                <c:pt idx="289">
                  <c:v>89.321625926464662</c:v>
                </c:pt>
                <c:pt idx="290">
                  <c:v>96.920185415412945</c:v>
                </c:pt>
                <c:pt idx="291">
                  <c:v>99.066807240186719</c:v>
                </c:pt>
                <c:pt idx="292">
                  <c:v>95.82934425151565</c:v>
                </c:pt>
                <c:pt idx="293">
                  <c:v>95.013983045756376</c:v>
                </c:pt>
                <c:pt idx="294">
                  <c:v>100.44101819604782</c:v>
                </c:pt>
                <c:pt idx="295">
                  <c:v>102.24091448124405</c:v>
                </c:pt>
                <c:pt idx="296">
                  <c:v>100.00722517053428</c:v>
                </c:pt>
                <c:pt idx="297">
                  <c:v>101.12997903625592</c:v>
                </c:pt>
                <c:pt idx="298">
                  <c:v>115.2364308092223</c:v>
                </c:pt>
                <c:pt idx="299">
                  <c:v>119.5333919129355</c:v>
                </c:pt>
                <c:pt idx="300">
                  <c:v>121.36834449701475</c:v>
                </c:pt>
                <c:pt idx="301">
                  <c:v>128.72324522746189</c:v>
                </c:pt>
                <c:pt idx="302">
                  <c:v>127.21434467125029</c:v>
                </c:pt>
                <c:pt idx="303">
                  <c:v>116.89217128901055</c:v>
                </c:pt>
                <c:pt idx="304">
                  <c:v>111.66543300852901</c:v>
                </c:pt>
                <c:pt idx="305">
                  <c:v>109.86004533234309</c:v>
                </c:pt>
                <c:pt idx="306">
                  <c:v>117.18691473769763</c:v>
                </c:pt>
                <c:pt idx="307">
                  <c:v>127.01562782119035</c:v>
                </c:pt>
                <c:pt idx="308">
                  <c:v>126.10273634640276</c:v>
                </c:pt>
                <c:pt idx="309">
                  <c:v>124.23350854481622</c:v>
                </c:pt>
                <c:pt idx="310">
                  <c:v>125.77287629150582</c:v>
                </c:pt>
                <c:pt idx="311">
                  <c:v>130.22904947273202</c:v>
                </c:pt>
                <c:pt idx="312">
                  <c:v>136.61150821375409</c:v>
                </c:pt>
                <c:pt idx="313">
                  <c:v>137.61906552022822</c:v>
                </c:pt>
                <c:pt idx="314">
                  <c:v>132.46644058924042</c:v>
                </c:pt>
                <c:pt idx="315">
                  <c:v>133.89184750268973</c:v>
                </c:pt>
                <c:pt idx="316">
                  <c:v>134.34934249560143</c:v>
                </c:pt>
                <c:pt idx="317">
                  <c:v>135.3144991089612</c:v>
                </c:pt>
                <c:pt idx="318">
                  <c:v>126.90834139620853</c:v>
                </c:pt>
                <c:pt idx="319">
                  <c:v>125.09954079090188</c:v>
                </c:pt>
                <c:pt idx="320">
                  <c:v>124.52451501606619</c:v>
                </c:pt>
                <c:pt idx="321">
                  <c:v>127.68475662017556</c:v>
                </c:pt>
                <c:pt idx="322">
                  <c:v>125.88849415410787</c:v>
                </c:pt>
                <c:pt idx="323">
                  <c:v>123.08952675923935</c:v>
                </c:pt>
                <c:pt idx="324">
                  <c:v>124.91861002901555</c:v>
                </c:pt>
                <c:pt idx="325">
                  <c:v>134.63246596083704</c:v>
                </c:pt>
                <c:pt idx="326">
                  <c:v>136.28154130702686</c:v>
                </c:pt>
                <c:pt idx="327">
                  <c:v>139.85857412068995</c:v>
                </c:pt>
                <c:pt idx="328">
                  <c:v>138.98552669469939</c:v>
                </c:pt>
                <c:pt idx="329">
                  <c:v>141.42200548434079</c:v>
                </c:pt>
                <c:pt idx="330">
                  <c:v>147.80252008979483</c:v>
                </c:pt>
                <c:pt idx="331">
                  <c:v>133.25243038323475</c:v>
                </c:pt>
                <c:pt idx="332">
                  <c:v>134.76477583201051</c:v>
                </c:pt>
                <c:pt idx="333">
                  <c:v>132.53708340854803</c:v>
                </c:pt>
                <c:pt idx="334">
                  <c:v>128.29893069828537</c:v>
                </c:pt>
                <c:pt idx="335">
                  <c:v>131.08949885602402</c:v>
                </c:pt>
                <c:pt idx="336">
                  <c:v>133.02027900138131</c:v>
                </c:pt>
                <c:pt idx="337">
                  <c:v>125.75356439032583</c:v>
                </c:pt>
                <c:pt idx="338">
                  <c:v>121.52018477536498</c:v>
                </c:pt>
                <c:pt idx="339">
                  <c:v>116.04881125569638</c:v>
                </c:pt>
                <c:pt idx="340">
                  <c:v>121.21303326888224</c:v>
                </c:pt>
                <c:pt idx="341">
                  <c:v>132.28459421345914</c:v>
                </c:pt>
                <c:pt idx="342">
                  <c:v>139.96679433048817</c:v>
                </c:pt>
                <c:pt idx="343">
                  <c:v>149.07194602312794</c:v>
                </c:pt>
                <c:pt idx="344">
                  <c:v>152.0159739927762</c:v>
                </c:pt>
                <c:pt idx="345">
                  <c:v>150.99384755413428</c:v>
                </c:pt>
                <c:pt idx="346">
                  <c:v>158.15798335534464</c:v>
                </c:pt>
                <c:pt idx="347">
                  <c:v>180.07338693899459</c:v>
                </c:pt>
                <c:pt idx="348">
                  <c:v>189.54104567162571</c:v>
                </c:pt>
                <c:pt idx="349">
                  <c:v>192.65542037260619</c:v>
                </c:pt>
                <c:pt idx="350">
                  <c:v>198.60874068222518</c:v>
                </c:pt>
                <c:pt idx="351">
                  <c:v>208.12438767434531</c:v>
                </c:pt>
                <c:pt idx="352">
                  <c:v>229.07054826364984</c:v>
                </c:pt>
                <c:pt idx="353">
                  <c:v>237.38709467501945</c:v>
                </c:pt>
                <c:pt idx="354">
                  <c:v>238.78103703248186</c:v>
                </c:pt>
                <c:pt idx="355">
                  <c:v>212.23554057279327</c:v>
                </c:pt>
                <c:pt idx="356">
                  <c:v>191.43006841813349</c:v>
                </c:pt>
                <c:pt idx="357">
                  <c:v>196.47539005937935</c:v>
                </c:pt>
                <c:pt idx="358">
                  <c:v>180.05724433436791</c:v>
                </c:pt>
                <c:pt idx="359">
                  <c:v>190.58396276380412</c:v>
                </c:pt>
                <c:pt idx="360">
                  <c:v>208.89338539951339</c:v>
                </c:pt>
                <c:pt idx="361">
                  <c:v>216.64460860678167</c:v>
                </c:pt>
                <c:pt idx="362">
                  <c:v>233.42847763713067</c:v>
                </c:pt>
                <c:pt idx="363">
                  <c:v>231.43584576834698</c:v>
                </c:pt>
                <c:pt idx="364">
                  <c:v>208.08617100072036</c:v>
                </c:pt>
                <c:pt idx="365">
                  <c:v>200.26224012711174</c:v>
                </c:pt>
                <c:pt idx="366">
                  <c:v>172.46682640543543</c:v>
                </c:pt>
                <c:pt idx="367">
                  <c:v>174.73724084600414</c:v>
                </c:pt>
                <c:pt idx="368">
                  <c:v>165.86422005390358</c:v>
                </c:pt>
                <c:pt idx="369">
                  <c:v>161.61263712749624</c:v>
                </c:pt>
              </c:numCache>
            </c:numRef>
          </c:val>
          <c:smooth val="0"/>
          <c:extLst>
            <c:ext xmlns:c16="http://schemas.microsoft.com/office/drawing/2014/chart" uri="{C3380CC4-5D6E-409C-BE32-E72D297353CC}">
              <c16:uniqueId val="{00000002-9AA4-4B11-A818-635C8FEF97AC}"/>
            </c:ext>
          </c:extLst>
        </c:ser>
        <c:dLbls>
          <c:showLegendKey val="0"/>
          <c:showVal val="0"/>
          <c:showCatName val="0"/>
          <c:showSerName val="0"/>
          <c:showPercent val="0"/>
          <c:showBubbleSize val="0"/>
        </c:dLbls>
        <c:smooth val="0"/>
        <c:axId val="383947040"/>
        <c:axId val="383960352"/>
      </c:lineChart>
      <c:catAx>
        <c:axId val="383947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383960352"/>
        <c:crosses val="autoZero"/>
        <c:auto val="1"/>
        <c:lblAlgn val="ctr"/>
        <c:lblOffset val="100"/>
        <c:noMultiLvlLbl val="0"/>
      </c:catAx>
      <c:valAx>
        <c:axId val="383960352"/>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383947040"/>
        <c:crosses val="autoZero"/>
        <c:crossBetween val="between"/>
      </c:valAx>
      <c:spPr>
        <a:noFill/>
        <a:ln>
          <a:noFill/>
        </a:ln>
        <a:effectLst/>
      </c:spPr>
    </c:plotArea>
    <c:legend>
      <c:legendPos val="r"/>
      <c:layout>
        <c:manualLayout>
          <c:xMode val="edge"/>
          <c:yMode val="edge"/>
          <c:x val="0.10895200421940929"/>
          <c:y val="7.3369293712316971E-2"/>
          <c:w val="0.14590084388185653"/>
          <c:h val="0.158142118863049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ru-R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743830604170425E-2"/>
          <c:y val="4.1083099906629318E-2"/>
          <c:w val="0.93846309697117825"/>
          <c:h val="0.91783380018674132"/>
        </c:manualLayout>
      </c:layout>
      <c:lineChart>
        <c:grouping val="standard"/>
        <c:varyColors val="0"/>
        <c:ser>
          <c:idx val="0"/>
          <c:order val="0"/>
          <c:spPr>
            <a:ln w="28575" cap="rnd">
              <a:solidFill>
                <a:srgbClr val="002060"/>
              </a:solidFill>
              <a:round/>
            </a:ln>
            <a:effectLst/>
          </c:spPr>
          <c:marker>
            <c:symbol val="none"/>
          </c:marker>
          <c:cat>
            <c:numRef>
              <c:f>'FRED Graph'!$A$24:$A$213</c:f>
              <c:numCache>
                <c:formatCode>m/d/yyyy</c:formatCode>
                <c:ptCount val="190"/>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pt idx="77">
                  <c:v>41791</c:v>
                </c:pt>
                <c:pt idx="78">
                  <c:v>41821</c:v>
                </c:pt>
                <c:pt idx="79">
                  <c:v>41852</c:v>
                </c:pt>
                <c:pt idx="80">
                  <c:v>41883</c:v>
                </c:pt>
                <c:pt idx="81">
                  <c:v>41913</c:v>
                </c:pt>
                <c:pt idx="82">
                  <c:v>41944</c:v>
                </c:pt>
                <c:pt idx="83">
                  <c:v>41974</c:v>
                </c:pt>
                <c:pt idx="84">
                  <c:v>42005</c:v>
                </c:pt>
                <c:pt idx="85">
                  <c:v>42036</c:v>
                </c:pt>
                <c:pt idx="86">
                  <c:v>42064</c:v>
                </c:pt>
                <c:pt idx="87">
                  <c:v>42095</c:v>
                </c:pt>
                <c:pt idx="88">
                  <c:v>42125</c:v>
                </c:pt>
                <c:pt idx="89">
                  <c:v>42156</c:v>
                </c:pt>
                <c:pt idx="90">
                  <c:v>42186</c:v>
                </c:pt>
                <c:pt idx="91">
                  <c:v>42217</c:v>
                </c:pt>
                <c:pt idx="92">
                  <c:v>42248</c:v>
                </c:pt>
                <c:pt idx="93">
                  <c:v>42278</c:v>
                </c:pt>
                <c:pt idx="94">
                  <c:v>42309</c:v>
                </c:pt>
                <c:pt idx="95">
                  <c:v>42339</c:v>
                </c:pt>
                <c:pt idx="96">
                  <c:v>42370</c:v>
                </c:pt>
                <c:pt idx="97">
                  <c:v>42401</c:v>
                </c:pt>
                <c:pt idx="98">
                  <c:v>42430</c:v>
                </c:pt>
                <c:pt idx="99">
                  <c:v>42461</c:v>
                </c:pt>
                <c:pt idx="100">
                  <c:v>42491</c:v>
                </c:pt>
                <c:pt idx="101">
                  <c:v>42522</c:v>
                </c:pt>
                <c:pt idx="102">
                  <c:v>42552</c:v>
                </c:pt>
                <c:pt idx="103">
                  <c:v>42583</c:v>
                </c:pt>
                <c:pt idx="104">
                  <c:v>42614</c:v>
                </c:pt>
                <c:pt idx="105">
                  <c:v>42644</c:v>
                </c:pt>
                <c:pt idx="106">
                  <c:v>42675</c:v>
                </c:pt>
                <c:pt idx="107">
                  <c:v>42705</c:v>
                </c:pt>
                <c:pt idx="108">
                  <c:v>42736</c:v>
                </c:pt>
                <c:pt idx="109">
                  <c:v>42767</c:v>
                </c:pt>
                <c:pt idx="110">
                  <c:v>42795</c:v>
                </c:pt>
                <c:pt idx="111">
                  <c:v>42826</c:v>
                </c:pt>
                <c:pt idx="112">
                  <c:v>42856</c:v>
                </c:pt>
                <c:pt idx="113">
                  <c:v>42887</c:v>
                </c:pt>
                <c:pt idx="114">
                  <c:v>42917</c:v>
                </c:pt>
                <c:pt idx="115">
                  <c:v>42948</c:v>
                </c:pt>
                <c:pt idx="116">
                  <c:v>42979</c:v>
                </c:pt>
                <c:pt idx="117">
                  <c:v>43009</c:v>
                </c:pt>
                <c:pt idx="118">
                  <c:v>43040</c:v>
                </c:pt>
                <c:pt idx="119">
                  <c:v>43070</c:v>
                </c:pt>
                <c:pt idx="120">
                  <c:v>43101</c:v>
                </c:pt>
                <c:pt idx="121">
                  <c:v>43132</c:v>
                </c:pt>
                <c:pt idx="122">
                  <c:v>43160</c:v>
                </c:pt>
                <c:pt idx="123">
                  <c:v>43191</c:v>
                </c:pt>
                <c:pt idx="124">
                  <c:v>43221</c:v>
                </c:pt>
                <c:pt idx="125">
                  <c:v>43252</c:v>
                </c:pt>
                <c:pt idx="126">
                  <c:v>43282</c:v>
                </c:pt>
                <c:pt idx="127">
                  <c:v>43313</c:v>
                </c:pt>
                <c:pt idx="128">
                  <c:v>43344</c:v>
                </c:pt>
                <c:pt idx="129">
                  <c:v>43374</c:v>
                </c:pt>
                <c:pt idx="130">
                  <c:v>43405</c:v>
                </c:pt>
                <c:pt idx="131">
                  <c:v>43435</c:v>
                </c:pt>
                <c:pt idx="132">
                  <c:v>43466</c:v>
                </c:pt>
                <c:pt idx="133">
                  <c:v>43497</c:v>
                </c:pt>
                <c:pt idx="134">
                  <c:v>43525</c:v>
                </c:pt>
                <c:pt idx="135">
                  <c:v>43556</c:v>
                </c:pt>
                <c:pt idx="136">
                  <c:v>43586</c:v>
                </c:pt>
                <c:pt idx="137">
                  <c:v>43617</c:v>
                </c:pt>
                <c:pt idx="138">
                  <c:v>43647</c:v>
                </c:pt>
                <c:pt idx="139">
                  <c:v>43678</c:v>
                </c:pt>
                <c:pt idx="140">
                  <c:v>43709</c:v>
                </c:pt>
                <c:pt idx="141">
                  <c:v>43739</c:v>
                </c:pt>
                <c:pt idx="142">
                  <c:v>43770</c:v>
                </c:pt>
                <c:pt idx="143">
                  <c:v>43800</c:v>
                </c:pt>
                <c:pt idx="144">
                  <c:v>43831</c:v>
                </c:pt>
                <c:pt idx="145">
                  <c:v>43862</c:v>
                </c:pt>
                <c:pt idx="146">
                  <c:v>43891</c:v>
                </c:pt>
                <c:pt idx="147">
                  <c:v>43922</c:v>
                </c:pt>
                <c:pt idx="148">
                  <c:v>43952</c:v>
                </c:pt>
                <c:pt idx="149">
                  <c:v>43983</c:v>
                </c:pt>
                <c:pt idx="150">
                  <c:v>44013</c:v>
                </c:pt>
                <c:pt idx="151">
                  <c:v>44044</c:v>
                </c:pt>
                <c:pt idx="152">
                  <c:v>44075</c:v>
                </c:pt>
                <c:pt idx="153">
                  <c:v>44105</c:v>
                </c:pt>
                <c:pt idx="154">
                  <c:v>44136</c:v>
                </c:pt>
                <c:pt idx="155">
                  <c:v>44166</c:v>
                </c:pt>
                <c:pt idx="156">
                  <c:v>44197</c:v>
                </c:pt>
                <c:pt idx="157">
                  <c:v>44228</c:v>
                </c:pt>
                <c:pt idx="158">
                  <c:v>44256</c:v>
                </c:pt>
                <c:pt idx="159">
                  <c:v>44287</c:v>
                </c:pt>
                <c:pt idx="160">
                  <c:v>44317</c:v>
                </c:pt>
                <c:pt idx="161">
                  <c:v>44348</c:v>
                </c:pt>
                <c:pt idx="162">
                  <c:v>44378</c:v>
                </c:pt>
                <c:pt idx="163">
                  <c:v>44409</c:v>
                </c:pt>
                <c:pt idx="164">
                  <c:v>44440</c:v>
                </c:pt>
                <c:pt idx="165">
                  <c:v>44470</c:v>
                </c:pt>
                <c:pt idx="166">
                  <c:v>44501</c:v>
                </c:pt>
                <c:pt idx="167">
                  <c:v>44531</c:v>
                </c:pt>
                <c:pt idx="168">
                  <c:v>44562</c:v>
                </c:pt>
                <c:pt idx="169">
                  <c:v>44593</c:v>
                </c:pt>
                <c:pt idx="170">
                  <c:v>44621</c:v>
                </c:pt>
                <c:pt idx="171">
                  <c:v>44652</c:v>
                </c:pt>
                <c:pt idx="172">
                  <c:v>44682</c:v>
                </c:pt>
                <c:pt idx="173">
                  <c:v>44713</c:v>
                </c:pt>
                <c:pt idx="174">
                  <c:v>44743</c:v>
                </c:pt>
                <c:pt idx="175">
                  <c:v>44774</c:v>
                </c:pt>
                <c:pt idx="176">
                  <c:v>44805</c:v>
                </c:pt>
                <c:pt idx="177">
                  <c:v>44835</c:v>
                </c:pt>
                <c:pt idx="178">
                  <c:v>44866</c:v>
                </c:pt>
                <c:pt idx="179">
                  <c:v>44896</c:v>
                </c:pt>
                <c:pt idx="180">
                  <c:v>44927</c:v>
                </c:pt>
                <c:pt idx="181">
                  <c:v>44958</c:v>
                </c:pt>
                <c:pt idx="182">
                  <c:v>44986</c:v>
                </c:pt>
                <c:pt idx="183">
                  <c:v>45017</c:v>
                </c:pt>
                <c:pt idx="184">
                  <c:v>45047</c:v>
                </c:pt>
                <c:pt idx="185">
                  <c:v>45078</c:v>
                </c:pt>
                <c:pt idx="186">
                  <c:v>45108</c:v>
                </c:pt>
                <c:pt idx="187">
                  <c:v>45139</c:v>
                </c:pt>
                <c:pt idx="188">
                  <c:v>45170</c:v>
                </c:pt>
                <c:pt idx="189">
                  <c:v>45200</c:v>
                </c:pt>
              </c:numCache>
            </c:numRef>
          </c:cat>
          <c:val>
            <c:numRef>
              <c:f>'FRED Graph'!$C$24:$C$213</c:f>
              <c:numCache>
                <c:formatCode>#,##0</c:formatCode>
                <c:ptCount val="190"/>
                <c:pt idx="0">
                  <c:v>-187940</c:v>
                </c:pt>
                <c:pt idx="1">
                  <c:v>-208337</c:v>
                </c:pt>
                <c:pt idx="2">
                  <c:v>-263907</c:v>
                </c:pt>
                <c:pt idx="3">
                  <c:v>-215849</c:v>
                </c:pt>
                <c:pt idx="4">
                  <c:v>-234241</c:v>
                </c:pt>
                <c:pt idx="5">
                  <c:v>-332469</c:v>
                </c:pt>
                <c:pt idx="6">
                  <c:v>-326403</c:v>
                </c:pt>
                <c:pt idx="7">
                  <c:v>-392723</c:v>
                </c:pt>
                <c:pt idx="8">
                  <c:v>-387664</c:v>
                </c:pt>
                <c:pt idx="9">
                  <c:v>-454796</c:v>
                </c:pt>
                <c:pt idx="10">
                  <c:v>-553491</c:v>
                </c:pt>
                <c:pt idx="11">
                  <c:v>-580454</c:v>
                </c:pt>
                <c:pt idx="12">
                  <c:v>-680469</c:v>
                </c:pt>
                <c:pt idx="13">
                  <c:v>-761765</c:v>
                </c:pt>
                <c:pt idx="14">
                  <c:v>-780061</c:v>
                </c:pt>
                <c:pt idx="15">
                  <c:v>-923438</c:v>
                </c:pt>
                <c:pt idx="16">
                  <c:v>-1103627</c:v>
                </c:pt>
                <c:pt idx="17">
                  <c:v>-1127351</c:v>
                </c:pt>
                <c:pt idx="18">
                  <c:v>-1255230</c:v>
                </c:pt>
                <c:pt idx="19">
                  <c:v>-1333143</c:v>
                </c:pt>
                <c:pt idx="20">
                  <c:v>-1324784</c:v>
                </c:pt>
                <c:pt idx="21">
                  <c:v>-1415725</c:v>
                </c:pt>
                <c:pt idx="22">
                  <c:v>-1436555</c:v>
                </c:pt>
                <c:pt idx="23">
                  <c:v>-1431641</c:v>
                </c:pt>
                <c:pt idx="24">
                  <c:v>-1471297</c:v>
                </c:pt>
                <c:pt idx="25">
                  <c:v>-1450474</c:v>
                </c:pt>
                <c:pt idx="26">
                  <c:v>-1477524</c:v>
                </c:pt>
                <c:pt idx="27">
                  <c:v>-1351322</c:v>
                </c:pt>
                <c:pt idx="28">
                  <c:v>-1413104</c:v>
                </c:pt>
                <c:pt idx="29">
                  <c:v>-1359380</c:v>
                </c:pt>
                <c:pt idx="30">
                  <c:v>-1333470</c:v>
                </c:pt>
                <c:pt idx="31">
                  <c:v>-1317833</c:v>
                </c:pt>
                <c:pt idx="32">
                  <c:v>-1304804</c:v>
                </c:pt>
                <c:pt idx="33">
                  <c:v>-1294204</c:v>
                </c:pt>
                <c:pt idx="34">
                  <c:v>-1258273</c:v>
                </c:pt>
                <c:pt idx="35">
                  <c:v>-1288380</c:v>
                </c:pt>
                <c:pt idx="36">
                  <c:v>-1275104</c:v>
                </c:pt>
                <c:pt idx="37">
                  <c:v>-1282266</c:v>
                </c:pt>
                <c:pt idx="38">
                  <c:v>-1283864</c:v>
                </c:pt>
                <c:pt idx="39">
                  <c:v>-1406631</c:v>
                </c:pt>
                <c:pt idx="40">
                  <c:v>-1364329</c:v>
                </c:pt>
                <c:pt idx="41">
                  <c:v>-1286043</c:v>
                </c:pt>
                <c:pt idx="42">
                  <c:v>-1260701</c:v>
                </c:pt>
                <c:pt idx="43">
                  <c:v>-1225034</c:v>
                </c:pt>
                <c:pt idx="44">
                  <c:v>-1268651</c:v>
                </c:pt>
                <c:pt idx="45">
                  <c:v>-1296794</c:v>
                </c:pt>
                <c:pt idx="46">
                  <c:v>-1254828</c:v>
                </c:pt>
                <c:pt idx="47">
                  <c:v>-1241736</c:v>
                </c:pt>
                <c:pt idx="48">
                  <c:v>-1249569</c:v>
                </c:pt>
                <c:pt idx="49">
                  <c:v>-1227180</c:v>
                </c:pt>
                <c:pt idx="50">
                  <c:v>-1236350</c:v>
                </c:pt>
                <c:pt idx="51">
                  <c:v>-1246353</c:v>
                </c:pt>
                <c:pt idx="52">
                  <c:v>-1146849</c:v>
                </c:pt>
                <c:pt idx="53">
                  <c:v>-1213844</c:v>
                </c:pt>
                <c:pt idx="54">
                  <c:v>-1230505</c:v>
                </c:pt>
                <c:pt idx="55">
                  <c:v>-1170733</c:v>
                </c:pt>
                <c:pt idx="56">
                  <c:v>-1227123</c:v>
                </c:pt>
                <c:pt idx="57">
                  <c:v>-1089193</c:v>
                </c:pt>
                <c:pt idx="58">
                  <c:v>-1110722</c:v>
                </c:pt>
                <c:pt idx="59">
                  <c:v>-1145532</c:v>
                </c:pt>
                <c:pt idx="60">
                  <c:v>-1060756</c:v>
                </c:pt>
                <c:pt idx="61">
                  <c:v>-1030463</c:v>
                </c:pt>
                <c:pt idx="62">
                  <c:v>-1002325</c:v>
                </c:pt>
                <c:pt idx="63">
                  <c:v>-910698</c:v>
                </c:pt>
                <c:pt idx="64">
                  <c:v>-856926</c:v>
                </c:pt>
                <c:pt idx="65">
                  <c:v>-871022</c:v>
                </c:pt>
                <c:pt idx="66">
                  <c:v>-694780</c:v>
                </c:pt>
                <c:pt idx="67">
                  <c:v>-722773</c:v>
                </c:pt>
                <c:pt idx="68">
                  <c:v>-680145</c:v>
                </c:pt>
                <c:pt idx="69">
                  <c:v>-680211</c:v>
                </c:pt>
                <c:pt idx="70">
                  <c:v>-650802</c:v>
                </c:pt>
                <c:pt idx="71">
                  <c:v>-613916</c:v>
                </c:pt>
                <c:pt idx="72">
                  <c:v>-559505</c:v>
                </c:pt>
                <c:pt idx="73">
                  <c:v>-572641</c:v>
                </c:pt>
                <c:pt idx="74">
                  <c:v>-562634</c:v>
                </c:pt>
                <c:pt idx="75">
                  <c:v>-492999</c:v>
                </c:pt>
                <c:pt idx="76">
                  <c:v>-499035</c:v>
                </c:pt>
                <c:pt idx="77">
                  <c:v>-490274</c:v>
                </c:pt>
                <c:pt idx="78">
                  <c:v>-536256</c:v>
                </c:pt>
                <c:pt idx="79">
                  <c:v>-533280</c:v>
                </c:pt>
                <c:pt idx="80">
                  <c:v>-514052</c:v>
                </c:pt>
                <c:pt idx="81">
                  <c:v>-483363</c:v>
                </c:pt>
                <c:pt idx="82">
                  <c:v>-514490</c:v>
                </c:pt>
                <c:pt idx="83">
                  <c:v>-436082</c:v>
                </c:pt>
                <c:pt idx="84">
                  <c:v>-487438</c:v>
                </c:pt>
                <c:pt idx="85">
                  <c:v>-492184</c:v>
                </c:pt>
                <c:pt idx="86">
                  <c:v>-491011</c:v>
                </c:pt>
                <c:pt idx="87">
                  <c:v>-507026.05993036</c:v>
                </c:pt>
                <c:pt idx="88">
                  <c:v>-457164.98149110994</c:v>
                </c:pt>
                <c:pt idx="89">
                  <c:v>-409579.25991014997</c:v>
                </c:pt>
                <c:pt idx="90">
                  <c:v>-428322.49590860994</c:v>
                </c:pt>
                <c:pt idx="91">
                  <c:v>-482888.26202145993</c:v>
                </c:pt>
                <c:pt idx="92">
                  <c:v>-418631.78193396999</c:v>
                </c:pt>
                <c:pt idx="93">
                  <c:v>-433374.25083958992</c:v>
                </c:pt>
                <c:pt idx="94">
                  <c:v>-448193.33565450995</c:v>
                </c:pt>
                <c:pt idx="95">
                  <c:v>-455928.25523344998</c:v>
                </c:pt>
                <c:pt idx="96">
                  <c:v>-472236.19908694999</c:v>
                </c:pt>
                <c:pt idx="97">
                  <c:v>-402076.91057205998</c:v>
                </c:pt>
                <c:pt idx="98">
                  <c:v>-402331.91227841994</c:v>
                </c:pt>
                <c:pt idx="99">
                  <c:v>-457464.58308683999</c:v>
                </c:pt>
                <c:pt idx="100">
                  <c:v>-507726.78968941001</c:v>
                </c:pt>
                <c:pt idx="101">
                  <c:v>-477848.92411490995</c:v>
                </c:pt>
                <c:pt idx="102">
                  <c:v>-523372.70067628997</c:v>
                </c:pt>
                <c:pt idx="103">
                  <c:v>-487001.17306793993</c:v>
                </c:pt>
                <c:pt idx="104">
                  <c:v>-529692.22883547004</c:v>
                </c:pt>
                <c:pt idx="105">
                  <c:v>-587393.26587489003</c:v>
                </c:pt>
                <c:pt idx="106">
                  <c:v>-495053.38203670993</c:v>
                </c:pt>
                <c:pt idx="107">
                  <c:v>-567151.03736132989</c:v>
                </c:pt>
                <c:pt idx="108">
                  <c:v>-580222.89206648991</c:v>
                </c:pt>
                <c:pt idx="109">
                  <c:v>-584129.00293837988</c:v>
                </c:pt>
                <c:pt idx="110">
                  <c:v>-583559.46656748001</c:v>
                </c:pt>
                <c:pt idx="111">
                  <c:v>-651749.06113675004</c:v>
                </c:pt>
                <c:pt idx="112">
                  <c:v>-575772.87532472017</c:v>
                </c:pt>
                <c:pt idx="113">
                  <c:v>-611691.45684636012</c:v>
                </c:pt>
                <c:pt idx="114">
                  <c:v>-708176.63535719016</c:v>
                </c:pt>
                <c:pt idx="115">
                  <c:v>-638300.77445366012</c:v>
                </c:pt>
                <c:pt idx="116">
                  <c:v>-638877.97555350012</c:v>
                </c:pt>
                <c:pt idx="117">
                  <c:v>-664237.3866732301</c:v>
                </c:pt>
                <c:pt idx="118">
                  <c:v>-683259.20366344007</c:v>
                </c:pt>
                <c:pt idx="119">
                  <c:v>-685156.06657746993</c:v>
                </c:pt>
                <c:pt idx="120">
                  <c:v>-680833.82750752999</c:v>
                </c:pt>
                <c:pt idx="121">
                  <c:v>-682855.28444260999</c:v>
                </c:pt>
                <c:pt idx="122">
                  <c:v>-706058.99152955005</c:v>
                </c:pt>
                <c:pt idx="123">
                  <c:v>-738569.91603137995</c:v>
                </c:pt>
                <c:pt idx="124">
                  <c:v>-706742.86001278006</c:v>
                </c:pt>
                <c:pt idx="125">
                  <c:v>-765113.30901216005</c:v>
                </c:pt>
                <c:pt idx="126">
                  <c:v>-749738.10840505001</c:v>
                </c:pt>
                <c:pt idx="127">
                  <c:v>-783663.96047469997</c:v>
                </c:pt>
                <c:pt idx="128">
                  <c:v>-890122.70917546016</c:v>
                </c:pt>
                <c:pt idx="129">
                  <c:v>-779006.78323037003</c:v>
                </c:pt>
                <c:pt idx="130">
                  <c:v>-816283.90780814993</c:v>
                </c:pt>
                <c:pt idx="131">
                  <c:v>-882639.02738933999</c:v>
                </c:pt>
                <c:pt idx="132">
                  <c:v>-872984.82652966992</c:v>
                </c:pt>
                <c:pt idx="133">
                  <c:v>-913537.68062660994</c:v>
                </c:pt>
                <c:pt idx="134">
                  <c:v>-932266.75703101</c:v>
                </c:pt>
                <c:pt idx="135">
                  <c:v>-870468.27287501993</c:v>
                </c:pt>
                <c:pt idx="136">
                  <c:v>-924418.8776324701</c:v>
                </c:pt>
                <c:pt idx="137">
                  <c:v>-985390.82561356993</c:v>
                </c:pt>
                <c:pt idx="138">
                  <c:v>-919009.15360422991</c:v>
                </c:pt>
                <c:pt idx="139">
                  <c:v>-961839.73012706987</c:v>
                </c:pt>
                <c:pt idx="140">
                  <c:v>-948036.55357555998</c:v>
                </c:pt>
                <c:pt idx="141">
                  <c:v>-984384.90399110003</c:v>
                </c:pt>
                <c:pt idx="142">
                  <c:v>-1018361.3263801801</c:v>
                </c:pt>
                <c:pt idx="143">
                  <c:v>-1022297.0634381401</c:v>
                </c:pt>
                <c:pt idx="144">
                  <c:v>-1022030.2621255101</c:v>
                </c:pt>
                <c:pt idx="145">
                  <c:v>-1063306.4087441301</c:v>
                </c:pt>
                <c:pt idx="146">
                  <c:v>-1064664.3737919</c:v>
                </c:pt>
                <c:pt idx="147">
                  <c:v>-1036844.77285603</c:v>
                </c:pt>
                <c:pt idx="148">
                  <c:v>-1934999.9028455401</c:v>
                </c:pt>
                <c:pt idx="149">
                  <c:v>-2126052.9251585603</c:v>
                </c:pt>
                <c:pt idx="150">
                  <c:v>-2981650.6751960502</c:v>
                </c:pt>
                <c:pt idx="151">
                  <c:v>-2924946.5953971301</c:v>
                </c:pt>
                <c:pt idx="152">
                  <c:v>-2924697.2615756602</c:v>
                </c:pt>
                <c:pt idx="153">
                  <c:v>-3132075.4784596302</c:v>
                </c:pt>
                <c:pt idx="154">
                  <c:v>-3281678.4506986602</c:v>
                </c:pt>
                <c:pt idx="155">
                  <c:v>-3218106.4197717705</c:v>
                </c:pt>
                <c:pt idx="156">
                  <c:v>-3348396.1898944802</c:v>
                </c:pt>
                <c:pt idx="157">
                  <c:v>-3478635.3993543801</c:v>
                </c:pt>
                <c:pt idx="158">
                  <c:v>-3554222.12798448</c:v>
                </c:pt>
                <c:pt idx="159">
                  <c:v>-4094688.5817070394</c:v>
                </c:pt>
                <c:pt idx="160">
                  <c:v>-3582417.4209531602</c:v>
                </c:pt>
                <c:pt idx="161">
                  <c:v>-3315549.07046169</c:v>
                </c:pt>
                <c:pt idx="162">
                  <c:v>-2625635.5522321402</c:v>
                </c:pt>
                <c:pt idx="163">
                  <c:v>-2864694.3141811001</c:v>
                </c:pt>
                <c:pt idx="164">
                  <c:v>-2835233.9527353104</c:v>
                </c:pt>
                <c:pt idx="165">
                  <c:v>-2772167.6455287999</c:v>
                </c:pt>
                <c:pt idx="166">
                  <c:v>-2653152.4752892093</c:v>
                </c:pt>
                <c:pt idx="167">
                  <c:v>-2699221.2522813296</c:v>
                </c:pt>
                <c:pt idx="168">
                  <c:v>-2576962.0542674297</c:v>
                </c:pt>
                <c:pt idx="169">
                  <c:v>-2295430.7065582299</c:v>
                </c:pt>
                <c:pt idx="170">
                  <c:v>-2201098.51610961</c:v>
                </c:pt>
                <c:pt idx="171">
                  <c:v>-1734189.2843259599</c:v>
                </c:pt>
                <c:pt idx="172">
                  <c:v>-1200394.7634733999</c:v>
                </c:pt>
                <c:pt idx="173">
                  <c:v>-1134664.2615147699</c:v>
                </c:pt>
                <c:pt idx="174">
                  <c:v>-1049345.2241787002</c:v>
                </c:pt>
                <c:pt idx="175">
                  <c:v>-958346.49588546017</c:v>
                </c:pt>
                <c:pt idx="176">
                  <c:v>-1007308.0831732298</c:v>
                </c:pt>
                <c:pt idx="177">
                  <c:v>-1375437.3109223901</c:v>
                </c:pt>
                <c:pt idx="178">
                  <c:v>-1298179.7803005299</c:v>
                </c:pt>
                <c:pt idx="179">
                  <c:v>-1355379.6204311398</c:v>
                </c:pt>
                <c:pt idx="180">
                  <c:v>-1419077.22758379</c:v>
                </c:pt>
                <c:pt idx="181">
                  <c:v>-1576559.8576646701</c:v>
                </c:pt>
                <c:pt idx="182">
                  <c:v>-1622403.9488028502</c:v>
                </c:pt>
                <c:pt idx="183">
                  <c:v>-1807797.8786176601</c:v>
                </c:pt>
                <c:pt idx="184">
                  <c:v>-1939832.1487953302</c:v>
                </c:pt>
                <c:pt idx="185">
                  <c:v>-2113957.8272441202</c:v>
                </c:pt>
                <c:pt idx="186">
                  <c:v>-2252884.7268560803</c:v>
                </c:pt>
                <c:pt idx="187">
                  <c:v>-2262615.0641594203</c:v>
                </c:pt>
                <c:pt idx="188">
                  <c:v>-1953763.2505160496</c:v>
                </c:pt>
                <c:pt idx="189">
                  <c:v>-1695071.9724289898</c:v>
                </c:pt>
              </c:numCache>
            </c:numRef>
          </c:val>
          <c:smooth val="0"/>
          <c:extLst>
            <c:ext xmlns:c16="http://schemas.microsoft.com/office/drawing/2014/chart" uri="{C3380CC4-5D6E-409C-BE32-E72D297353CC}">
              <c16:uniqueId val="{00000000-2466-4050-836C-EDBB43BD7D9D}"/>
            </c:ext>
          </c:extLst>
        </c:ser>
        <c:dLbls>
          <c:showLegendKey val="0"/>
          <c:showVal val="0"/>
          <c:showCatName val="0"/>
          <c:showSerName val="0"/>
          <c:showPercent val="0"/>
          <c:showBubbleSize val="0"/>
        </c:dLbls>
        <c:smooth val="0"/>
        <c:axId val="646416208"/>
        <c:axId val="646431688"/>
      </c:lineChart>
      <c:dateAx>
        <c:axId val="646416208"/>
        <c:scaling>
          <c:orientation val="minMax"/>
        </c:scaling>
        <c:delete val="0"/>
        <c:axPos val="b"/>
        <c:numFmt formatCode="yyyy" sourceLinked="0"/>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7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ru-RU"/>
          </a:p>
        </c:txPr>
        <c:crossAx val="646431688"/>
        <c:crosses val="autoZero"/>
        <c:auto val="1"/>
        <c:lblOffset val="100"/>
        <c:baseTimeUnit val="months"/>
        <c:majorUnit val="12"/>
        <c:majorTimeUnit val="months"/>
      </c:dateAx>
      <c:valAx>
        <c:axId val="646431688"/>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ru-RU"/>
          </a:p>
        </c:txPr>
        <c:crossAx val="646416208"/>
        <c:crosses val="autoZero"/>
        <c:crossBetween val="between"/>
        <c:dispUnits>
          <c:builtInUnit val="millions"/>
          <c:dispUnitsLbl>
            <c:layout>
              <c:manualLayout>
                <c:xMode val="edge"/>
                <c:yMode val="edge"/>
                <c:x val="9.0505740740740734E-2"/>
                <c:y val="0.8926236111111111"/>
              </c:manualLayout>
            </c:layout>
            <c:tx>
              <c:rich>
                <a:bodyPr rot="0" spcFirstLastPara="1" vertOverflow="ellipsis"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dirty="0"/>
                    <a:t>$ </a:t>
                  </a:r>
                  <a:r>
                    <a:rPr lang="en-US" dirty="0" err="1"/>
                    <a:t>tln</a:t>
                  </a:r>
                  <a:r>
                    <a:rPr lang="en-US" dirty="0"/>
                    <a:t> $ (rolling 12m</a:t>
                  </a:r>
                  <a:r>
                    <a:rPr lang="en-US" baseline="0" dirty="0"/>
                    <a:t> sum)</a:t>
                  </a:r>
                  <a:endParaRPr lang="ru-RU" dirty="0"/>
                </a:p>
              </c:rich>
            </c:tx>
            <c:spPr>
              <a:noFill/>
              <a:ln>
                <a:noFill/>
              </a:ln>
              <a:effectLst/>
            </c:spPr>
            <c:txPr>
              <a:bodyPr rot="0" spcFirstLastPara="1" vertOverflow="ellipsis" wrap="square" anchor="ctr" anchorCtr="1"/>
              <a:lstStyle/>
              <a:p>
                <a:pPr>
                  <a:defRPr sz="8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ru-RU"/>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800">
          <a:solidFill>
            <a:sysClr val="windowText" lastClr="000000"/>
          </a:solidFill>
          <a:latin typeface="Arial" panose="020B0604020202020204" pitchFamily="34" charset="0"/>
          <a:cs typeface="Arial" panose="020B0604020202020204" pitchFamily="34" charset="0"/>
        </a:defRPr>
      </a:pPr>
      <a:endParaRPr lang="ru-R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401111111111114E-2"/>
          <c:y val="2.626712962962963E-2"/>
          <c:w val="0.92172851851851856"/>
          <c:h val="0.79149675925925922"/>
        </c:manualLayout>
      </c:layout>
      <c:areaChart>
        <c:grouping val="standard"/>
        <c:varyColors val="0"/>
        <c:ser>
          <c:idx val="0"/>
          <c:order val="0"/>
          <c:spPr>
            <a:solidFill>
              <a:srgbClr val="00447C"/>
            </a:solidFill>
            <a:ln>
              <a:noFill/>
            </a:ln>
            <a:effectLst/>
          </c:spPr>
          <c:cat>
            <c:numRef>
              <c:f>Лист1!$B$3:$B$155</c:f>
              <c:numCache>
                <c:formatCode>General</c:formatCode>
                <c:ptCount val="153"/>
                <c:pt idx="0">
                  <c:v>1870</c:v>
                </c:pt>
                <c:pt idx="1">
                  <c:v>1871</c:v>
                </c:pt>
                <c:pt idx="2">
                  <c:v>1872</c:v>
                </c:pt>
                <c:pt idx="3">
                  <c:v>1873</c:v>
                </c:pt>
                <c:pt idx="4">
                  <c:v>1874</c:v>
                </c:pt>
                <c:pt idx="5">
                  <c:v>1875</c:v>
                </c:pt>
                <c:pt idx="6">
                  <c:v>1876</c:v>
                </c:pt>
                <c:pt idx="7">
                  <c:v>1877</c:v>
                </c:pt>
                <c:pt idx="8">
                  <c:v>1878</c:v>
                </c:pt>
                <c:pt idx="9">
                  <c:v>1879</c:v>
                </c:pt>
                <c:pt idx="10">
                  <c:v>1880</c:v>
                </c:pt>
                <c:pt idx="11">
                  <c:v>1881</c:v>
                </c:pt>
                <c:pt idx="12">
                  <c:v>1882</c:v>
                </c:pt>
                <c:pt idx="13">
                  <c:v>1883</c:v>
                </c:pt>
                <c:pt idx="14">
                  <c:v>1884</c:v>
                </c:pt>
                <c:pt idx="15">
                  <c:v>1885</c:v>
                </c:pt>
                <c:pt idx="16">
                  <c:v>1886</c:v>
                </c:pt>
                <c:pt idx="17">
                  <c:v>1887</c:v>
                </c:pt>
                <c:pt idx="18">
                  <c:v>1888</c:v>
                </c:pt>
                <c:pt idx="19">
                  <c:v>1889</c:v>
                </c:pt>
                <c:pt idx="20">
                  <c:v>1890</c:v>
                </c:pt>
                <c:pt idx="21">
                  <c:v>1891</c:v>
                </c:pt>
                <c:pt idx="22">
                  <c:v>1892</c:v>
                </c:pt>
                <c:pt idx="23">
                  <c:v>1893</c:v>
                </c:pt>
                <c:pt idx="24">
                  <c:v>1894</c:v>
                </c:pt>
                <c:pt idx="25">
                  <c:v>1895</c:v>
                </c:pt>
                <c:pt idx="26">
                  <c:v>1896</c:v>
                </c:pt>
                <c:pt idx="27">
                  <c:v>1897</c:v>
                </c:pt>
                <c:pt idx="28">
                  <c:v>1898</c:v>
                </c:pt>
                <c:pt idx="29">
                  <c:v>1899</c:v>
                </c:pt>
                <c:pt idx="30">
                  <c:v>1900</c:v>
                </c:pt>
                <c:pt idx="31">
                  <c:v>1901</c:v>
                </c:pt>
                <c:pt idx="32">
                  <c:v>1902</c:v>
                </c:pt>
                <c:pt idx="33">
                  <c:v>1903</c:v>
                </c:pt>
                <c:pt idx="34">
                  <c:v>1904</c:v>
                </c:pt>
                <c:pt idx="35">
                  <c:v>1905</c:v>
                </c:pt>
                <c:pt idx="36">
                  <c:v>1906</c:v>
                </c:pt>
                <c:pt idx="37">
                  <c:v>1907</c:v>
                </c:pt>
                <c:pt idx="38">
                  <c:v>1908</c:v>
                </c:pt>
                <c:pt idx="39">
                  <c:v>1909</c:v>
                </c:pt>
                <c:pt idx="40">
                  <c:v>1910</c:v>
                </c:pt>
                <c:pt idx="41">
                  <c:v>1911</c:v>
                </c:pt>
                <c:pt idx="42">
                  <c:v>1912</c:v>
                </c:pt>
                <c:pt idx="43">
                  <c:v>1913</c:v>
                </c:pt>
                <c:pt idx="44">
                  <c:v>1914</c:v>
                </c:pt>
                <c:pt idx="45">
                  <c:v>1915</c:v>
                </c:pt>
                <c:pt idx="46">
                  <c:v>1916</c:v>
                </c:pt>
                <c:pt idx="47">
                  <c:v>1917</c:v>
                </c:pt>
                <c:pt idx="48">
                  <c:v>1918</c:v>
                </c:pt>
                <c:pt idx="49">
                  <c:v>1919</c:v>
                </c:pt>
                <c:pt idx="50">
                  <c:v>1920</c:v>
                </c:pt>
                <c:pt idx="51">
                  <c:v>1921</c:v>
                </c:pt>
                <c:pt idx="52">
                  <c:v>1922</c:v>
                </c:pt>
                <c:pt idx="53">
                  <c:v>1923</c:v>
                </c:pt>
                <c:pt idx="54">
                  <c:v>1924</c:v>
                </c:pt>
                <c:pt idx="55">
                  <c:v>1925</c:v>
                </c:pt>
                <c:pt idx="56">
                  <c:v>1926</c:v>
                </c:pt>
                <c:pt idx="57">
                  <c:v>1927</c:v>
                </c:pt>
                <c:pt idx="58">
                  <c:v>1928</c:v>
                </c:pt>
                <c:pt idx="59">
                  <c:v>1929</c:v>
                </c:pt>
                <c:pt idx="60">
                  <c:v>1930</c:v>
                </c:pt>
                <c:pt idx="61">
                  <c:v>1931</c:v>
                </c:pt>
                <c:pt idx="62">
                  <c:v>1932</c:v>
                </c:pt>
                <c:pt idx="63">
                  <c:v>1933</c:v>
                </c:pt>
                <c:pt idx="64">
                  <c:v>1934</c:v>
                </c:pt>
                <c:pt idx="65">
                  <c:v>1935</c:v>
                </c:pt>
                <c:pt idx="66">
                  <c:v>1936</c:v>
                </c:pt>
                <c:pt idx="67">
                  <c:v>1937</c:v>
                </c:pt>
                <c:pt idx="68">
                  <c:v>1938</c:v>
                </c:pt>
                <c:pt idx="69">
                  <c:v>1939</c:v>
                </c:pt>
                <c:pt idx="70">
                  <c:v>1940</c:v>
                </c:pt>
                <c:pt idx="71">
                  <c:v>1941</c:v>
                </c:pt>
                <c:pt idx="72">
                  <c:v>1942</c:v>
                </c:pt>
                <c:pt idx="73">
                  <c:v>1943</c:v>
                </c:pt>
                <c:pt idx="74">
                  <c:v>1944</c:v>
                </c:pt>
                <c:pt idx="75">
                  <c:v>1945</c:v>
                </c:pt>
                <c:pt idx="76">
                  <c:v>1946</c:v>
                </c:pt>
                <c:pt idx="77">
                  <c:v>1947</c:v>
                </c:pt>
                <c:pt idx="78">
                  <c:v>1948</c:v>
                </c:pt>
                <c:pt idx="79">
                  <c:v>1949</c:v>
                </c:pt>
                <c:pt idx="80">
                  <c:v>1950</c:v>
                </c:pt>
                <c:pt idx="81">
                  <c:v>1951</c:v>
                </c:pt>
                <c:pt idx="82">
                  <c:v>1952</c:v>
                </c:pt>
                <c:pt idx="83">
                  <c:v>1953</c:v>
                </c:pt>
                <c:pt idx="84">
                  <c:v>1954</c:v>
                </c:pt>
                <c:pt idx="85">
                  <c:v>1955</c:v>
                </c:pt>
                <c:pt idx="86">
                  <c:v>1956</c:v>
                </c:pt>
                <c:pt idx="87">
                  <c:v>1957</c:v>
                </c:pt>
                <c:pt idx="88">
                  <c:v>1958</c:v>
                </c:pt>
                <c:pt idx="89">
                  <c:v>1959</c:v>
                </c:pt>
                <c:pt idx="90">
                  <c:v>1960</c:v>
                </c:pt>
                <c:pt idx="91">
                  <c:v>1961</c:v>
                </c:pt>
                <c:pt idx="92">
                  <c:v>1962</c:v>
                </c:pt>
                <c:pt idx="93">
                  <c:v>1963</c:v>
                </c:pt>
                <c:pt idx="94">
                  <c:v>1964</c:v>
                </c:pt>
                <c:pt idx="95">
                  <c:v>1965</c:v>
                </c:pt>
                <c:pt idx="96">
                  <c:v>1966</c:v>
                </c:pt>
                <c:pt idx="97">
                  <c:v>1967</c:v>
                </c:pt>
                <c:pt idx="98">
                  <c:v>1968</c:v>
                </c:pt>
                <c:pt idx="99">
                  <c:v>1969</c:v>
                </c:pt>
                <c:pt idx="100">
                  <c:v>1970</c:v>
                </c:pt>
                <c:pt idx="101">
                  <c:v>1971</c:v>
                </c:pt>
                <c:pt idx="102">
                  <c:v>1972</c:v>
                </c:pt>
                <c:pt idx="103">
                  <c:v>1973</c:v>
                </c:pt>
                <c:pt idx="104">
                  <c:v>1974</c:v>
                </c:pt>
                <c:pt idx="105">
                  <c:v>1975</c:v>
                </c:pt>
                <c:pt idx="106">
                  <c:v>1976</c:v>
                </c:pt>
                <c:pt idx="107">
                  <c:v>1977</c:v>
                </c:pt>
                <c:pt idx="108">
                  <c:v>1978</c:v>
                </c:pt>
                <c:pt idx="109">
                  <c:v>1979</c:v>
                </c:pt>
                <c:pt idx="110">
                  <c:v>1980</c:v>
                </c:pt>
                <c:pt idx="111">
                  <c:v>1981</c:v>
                </c:pt>
                <c:pt idx="112">
                  <c:v>1982</c:v>
                </c:pt>
                <c:pt idx="113">
                  <c:v>1983</c:v>
                </c:pt>
                <c:pt idx="114">
                  <c:v>1984</c:v>
                </c:pt>
                <c:pt idx="115">
                  <c:v>1985</c:v>
                </c:pt>
                <c:pt idx="116">
                  <c:v>1986</c:v>
                </c:pt>
                <c:pt idx="117">
                  <c:v>1987</c:v>
                </c:pt>
                <c:pt idx="118">
                  <c:v>1988</c:v>
                </c:pt>
                <c:pt idx="119">
                  <c:v>1989</c:v>
                </c:pt>
                <c:pt idx="120">
                  <c:v>1990</c:v>
                </c:pt>
                <c:pt idx="121">
                  <c:v>1991</c:v>
                </c:pt>
                <c:pt idx="122">
                  <c:v>1992</c:v>
                </c:pt>
                <c:pt idx="123">
                  <c:v>1993</c:v>
                </c:pt>
                <c:pt idx="124">
                  <c:v>1994</c:v>
                </c:pt>
                <c:pt idx="125">
                  <c:v>1995</c:v>
                </c:pt>
                <c:pt idx="126">
                  <c:v>1996</c:v>
                </c:pt>
                <c:pt idx="127">
                  <c:v>1997</c:v>
                </c:pt>
                <c:pt idx="128">
                  <c:v>1998</c:v>
                </c:pt>
                <c:pt idx="129">
                  <c:v>1999</c:v>
                </c:pt>
                <c:pt idx="130">
                  <c:v>2000</c:v>
                </c:pt>
                <c:pt idx="131">
                  <c:v>2001</c:v>
                </c:pt>
                <c:pt idx="132">
                  <c:v>2002</c:v>
                </c:pt>
                <c:pt idx="133">
                  <c:v>2003</c:v>
                </c:pt>
                <c:pt idx="134">
                  <c:v>2004</c:v>
                </c:pt>
                <c:pt idx="135">
                  <c:v>2005</c:v>
                </c:pt>
                <c:pt idx="136">
                  <c:v>2006</c:v>
                </c:pt>
                <c:pt idx="137">
                  <c:v>2007</c:v>
                </c:pt>
                <c:pt idx="138">
                  <c:v>2008</c:v>
                </c:pt>
                <c:pt idx="139">
                  <c:v>2009</c:v>
                </c:pt>
                <c:pt idx="140">
                  <c:v>2010</c:v>
                </c:pt>
                <c:pt idx="141">
                  <c:v>2011</c:v>
                </c:pt>
                <c:pt idx="142">
                  <c:v>2012</c:v>
                </c:pt>
                <c:pt idx="143">
                  <c:v>2013</c:v>
                </c:pt>
                <c:pt idx="144">
                  <c:v>2014</c:v>
                </c:pt>
                <c:pt idx="145">
                  <c:v>2015</c:v>
                </c:pt>
                <c:pt idx="146">
                  <c:v>2016</c:v>
                </c:pt>
                <c:pt idx="147">
                  <c:v>2017</c:v>
                </c:pt>
                <c:pt idx="148">
                  <c:v>2018</c:v>
                </c:pt>
                <c:pt idx="149">
                  <c:v>2019</c:v>
                </c:pt>
                <c:pt idx="150">
                  <c:v>2020</c:v>
                </c:pt>
                <c:pt idx="151">
                  <c:v>2021</c:v>
                </c:pt>
                <c:pt idx="152">
                  <c:v>2022</c:v>
                </c:pt>
              </c:numCache>
            </c:numRef>
          </c:cat>
          <c:val>
            <c:numRef>
              <c:f>Лист1!$C$3:$C$155</c:f>
              <c:numCache>
                <c:formatCode>0.00</c:formatCode>
                <c:ptCount val="153"/>
                <c:pt idx="0">
                  <c:v>24.356398979610432</c:v>
                </c:pt>
                <c:pt idx="1">
                  <c:v>27.737678979610436</c:v>
                </c:pt>
                <c:pt idx="2">
                  <c:v>29.454528979610437</c:v>
                </c:pt>
                <c:pt idx="3">
                  <c:v>29.118258979610438</c:v>
                </c:pt>
                <c:pt idx="4">
                  <c:v>28.132418979610435</c:v>
                </c:pt>
                <c:pt idx="5">
                  <c:v>28.206618979610433</c:v>
                </c:pt>
                <c:pt idx="6">
                  <c:v>27.997548979610436</c:v>
                </c:pt>
                <c:pt idx="7">
                  <c:v>27.013278979610433</c:v>
                </c:pt>
                <c:pt idx="8">
                  <c:v>26.784638979610435</c:v>
                </c:pt>
                <c:pt idx="9">
                  <c:v>27.010398979610436</c:v>
                </c:pt>
                <c:pt idx="10">
                  <c:v>27.479408979610433</c:v>
                </c:pt>
                <c:pt idx="11">
                  <c:v>26.261728979610439</c:v>
                </c:pt>
                <c:pt idx="12">
                  <c:v>25.700288979610434</c:v>
                </c:pt>
                <c:pt idx="13">
                  <c:v>26.182408979610436</c:v>
                </c:pt>
                <c:pt idx="14">
                  <c:v>25.246448979610435</c:v>
                </c:pt>
                <c:pt idx="15">
                  <c:v>24.546498979610433</c:v>
                </c:pt>
                <c:pt idx="16">
                  <c:v>23.684968979610439</c:v>
                </c:pt>
                <c:pt idx="17">
                  <c:v>23.798778979610432</c:v>
                </c:pt>
                <c:pt idx="18">
                  <c:v>23.658198979610432</c:v>
                </c:pt>
                <c:pt idx="19">
                  <c:v>24.902748979610436</c:v>
                </c:pt>
                <c:pt idx="20">
                  <c:v>24.169208979610438</c:v>
                </c:pt>
                <c:pt idx="21">
                  <c:v>24.123708979610434</c:v>
                </c:pt>
                <c:pt idx="22">
                  <c:v>23.091948979610436</c:v>
                </c:pt>
                <c:pt idx="23">
                  <c:v>22.980238979610434</c:v>
                </c:pt>
                <c:pt idx="24">
                  <c:v>22.883948979610437</c:v>
                </c:pt>
                <c:pt idx="25">
                  <c:v>22.550728979610433</c:v>
                </c:pt>
                <c:pt idx="26">
                  <c:v>23.444438979610439</c:v>
                </c:pt>
                <c:pt idx="27">
                  <c:v>23.599398979610434</c:v>
                </c:pt>
                <c:pt idx="28">
                  <c:v>22.841428979610434</c:v>
                </c:pt>
                <c:pt idx="29">
                  <c:v>23.224178979610436</c:v>
                </c:pt>
                <c:pt idx="30">
                  <c:v>24.092648979610438</c:v>
                </c:pt>
                <c:pt idx="31">
                  <c:v>22.883038979610433</c:v>
                </c:pt>
                <c:pt idx="32">
                  <c:v>22.294848979610435</c:v>
                </c:pt>
                <c:pt idx="33">
                  <c:v>22.323358979610433</c:v>
                </c:pt>
                <c:pt idx="34">
                  <c:v>22.858198979610435</c:v>
                </c:pt>
                <c:pt idx="35">
                  <c:v>22.841788979610435</c:v>
                </c:pt>
                <c:pt idx="36">
                  <c:v>23.605298979610438</c:v>
                </c:pt>
                <c:pt idx="37">
                  <c:v>24.124578979610433</c:v>
                </c:pt>
                <c:pt idx="38">
                  <c:v>23.213318979610435</c:v>
                </c:pt>
                <c:pt idx="39">
                  <c:v>23.113998979610436</c:v>
                </c:pt>
                <c:pt idx="40">
                  <c:v>24.709428979610436</c:v>
                </c:pt>
                <c:pt idx="41">
                  <c:v>25.147358979610438</c:v>
                </c:pt>
                <c:pt idx="42">
                  <c:v>25.727918979610436</c:v>
                </c:pt>
                <c:pt idx="43">
                  <c:v>26.039008979610436</c:v>
                </c:pt>
                <c:pt idx="44">
                  <c:v>20.189868979610438</c:v>
                </c:pt>
                <c:pt idx="45">
                  <c:v>21.606348979610438</c:v>
                </c:pt>
                <c:pt idx="46">
                  <c:v>26.037448979610438</c:v>
                </c:pt>
                <c:pt idx="47">
                  <c:v>25.079028979610435</c:v>
                </c:pt>
                <c:pt idx="48">
                  <c:v>19.389348979610439</c:v>
                </c:pt>
                <c:pt idx="49">
                  <c:v>24.444038979610433</c:v>
                </c:pt>
                <c:pt idx="50">
                  <c:v>25.831588979610437</c:v>
                </c:pt>
                <c:pt idx="51">
                  <c:v>17.402418979610438</c:v>
                </c:pt>
                <c:pt idx="52">
                  <c:v>17.981458979610437</c:v>
                </c:pt>
                <c:pt idx="53">
                  <c:v>18.066138979610436</c:v>
                </c:pt>
                <c:pt idx="54">
                  <c:v>19.898888979610433</c:v>
                </c:pt>
                <c:pt idx="55">
                  <c:v>21.064608979610433</c:v>
                </c:pt>
                <c:pt idx="56">
                  <c:v>19.275818979610435</c:v>
                </c:pt>
                <c:pt idx="57">
                  <c:v>19.641938979610437</c:v>
                </c:pt>
                <c:pt idx="58">
                  <c:v>19.492648979610436</c:v>
                </c:pt>
                <c:pt idx="59">
                  <c:v>19.164838979610437</c:v>
                </c:pt>
                <c:pt idx="60">
                  <c:v>16.712258979610439</c:v>
                </c:pt>
                <c:pt idx="61">
                  <c:v>13.587898979610435</c:v>
                </c:pt>
                <c:pt idx="62">
                  <c:v>11.190008979610436</c:v>
                </c:pt>
                <c:pt idx="63">
                  <c:v>12.172928979610436</c:v>
                </c:pt>
                <c:pt idx="64">
                  <c:v>12.216658979610436</c:v>
                </c:pt>
                <c:pt idx="65">
                  <c:v>11.915428979610436</c:v>
                </c:pt>
                <c:pt idx="66">
                  <c:v>11.582528979610435</c:v>
                </c:pt>
                <c:pt idx="67">
                  <c:v>13.773868979610436</c:v>
                </c:pt>
                <c:pt idx="68">
                  <c:v>11.901518979610437</c:v>
                </c:pt>
                <c:pt idx="69">
                  <c:v>10.356328979610435</c:v>
                </c:pt>
                <c:pt idx="70">
                  <c:v>8.526768979610436</c:v>
                </c:pt>
                <c:pt idx="71">
                  <c:v>8.1582389796104362</c:v>
                </c:pt>
                <c:pt idx="72">
                  <c:v>7.2133889796104356</c:v>
                </c:pt>
                <c:pt idx="73">
                  <c:v>7.4447389796104364</c:v>
                </c:pt>
                <c:pt idx="74">
                  <c:v>7.1993289796104349</c:v>
                </c:pt>
                <c:pt idx="75">
                  <c:v>5.6600509796104355</c:v>
                </c:pt>
                <c:pt idx="76">
                  <c:v>7.9801389796104356</c:v>
                </c:pt>
                <c:pt idx="77">
                  <c:v>10.908248979610436</c:v>
                </c:pt>
                <c:pt idx="78">
                  <c:v>11.273758979610436</c:v>
                </c:pt>
                <c:pt idx="79">
                  <c:v>11.314908979610436</c:v>
                </c:pt>
                <c:pt idx="80">
                  <c:v>12.874268979610436</c:v>
                </c:pt>
                <c:pt idx="81">
                  <c:v>15.383988979610434</c:v>
                </c:pt>
                <c:pt idx="82">
                  <c:v>14.201098979610437</c:v>
                </c:pt>
                <c:pt idx="83">
                  <c:v>13.209728979610437</c:v>
                </c:pt>
                <c:pt idx="84">
                  <c:v>13.480058979610435</c:v>
                </c:pt>
                <c:pt idx="85">
                  <c:v>14.075228979610435</c:v>
                </c:pt>
                <c:pt idx="86">
                  <c:v>14.828798979610434</c:v>
                </c:pt>
                <c:pt idx="87">
                  <c:v>15.446738979610435</c:v>
                </c:pt>
                <c:pt idx="88">
                  <c:v>14.039968979610437</c:v>
                </c:pt>
                <c:pt idx="89">
                  <c:v>14.333218979610434</c:v>
                </c:pt>
                <c:pt idx="90">
                  <c:v>15.521918979610435</c:v>
                </c:pt>
                <c:pt idx="91">
                  <c:v>15.350848979610435</c:v>
                </c:pt>
                <c:pt idx="92">
                  <c:v>15.126208979610437</c:v>
                </c:pt>
                <c:pt idx="93">
                  <c:v>15.447938979610436</c:v>
                </c:pt>
                <c:pt idx="94">
                  <c:v>15.604583787321259</c:v>
                </c:pt>
                <c:pt idx="95">
                  <c:v>14.725640145050482</c:v>
                </c:pt>
                <c:pt idx="96">
                  <c:v>15.492803861330829</c:v>
                </c:pt>
                <c:pt idx="97">
                  <c:v>15.514393268578718</c:v>
                </c:pt>
                <c:pt idx="98">
                  <c:v>16.075116052998151</c:v>
                </c:pt>
                <c:pt idx="99">
                  <c:v>16.396801702512281</c:v>
                </c:pt>
                <c:pt idx="100">
                  <c:v>17.174216056348261</c:v>
                </c:pt>
                <c:pt idx="101">
                  <c:v>17.340964524081418</c:v>
                </c:pt>
                <c:pt idx="102">
                  <c:v>18.364022175522781</c:v>
                </c:pt>
                <c:pt idx="103">
                  <c:v>20.714165405157917</c:v>
                </c:pt>
                <c:pt idx="104">
                  <c:v>27.103668457223588</c:v>
                </c:pt>
                <c:pt idx="105">
                  <c:v>25.507615976823701</c:v>
                </c:pt>
                <c:pt idx="106">
                  <c:v>26.395254041454542</c:v>
                </c:pt>
                <c:pt idx="107">
                  <c:v>26.546307293260945</c:v>
                </c:pt>
                <c:pt idx="108">
                  <c:v>25.555928162968918</c:v>
                </c:pt>
                <c:pt idx="109">
                  <c:v>28.109163496347527</c:v>
                </c:pt>
                <c:pt idx="110">
                  <c:v>30.812236095402771</c:v>
                </c:pt>
                <c:pt idx="111">
                  <c:v>30.170597648465304</c:v>
                </c:pt>
                <c:pt idx="112">
                  <c:v>28.580031915926842</c:v>
                </c:pt>
                <c:pt idx="113">
                  <c:v>27.12601571952483</c:v>
                </c:pt>
                <c:pt idx="114">
                  <c:v>27.878307243408511</c:v>
                </c:pt>
                <c:pt idx="115">
                  <c:v>26.839769273858863</c:v>
                </c:pt>
                <c:pt idx="116">
                  <c:v>25.091515918285726</c:v>
                </c:pt>
                <c:pt idx="117">
                  <c:v>25.952261473904461</c:v>
                </c:pt>
                <c:pt idx="118">
                  <c:v>26.396388539174197</c:v>
                </c:pt>
                <c:pt idx="119">
                  <c:v>27.267369433232691</c:v>
                </c:pt>
                <c:pt idx="120">
                  <c:v>27.936108338419409</c:v>
                </c:pt>
                <c:pt idx="121">
                  <c:v>27.560019940230074</c:v>
                </c:pt>
                <c:pt idx="122">
                  <c:v>28.11743299323178</c:v>
                </c:pt>
                <c:pt idx="123">
                  <c:v>27.08922559271711</c:v>
                </c:pt>
                <c:pt idx="124">
                  <c:v>28.364535309131757</c:v>
                </c:pt>
                <c:pt idx="125">
                  <c:v>30.890148999792526</c:v>
                </c:pt>
                <c:pt idx="126">
                  <c:v>31.474608063808731</c:v>
                </c:pt>
                <c:pt idx="127">
                  <c:v>33.513238664796681</c:v>
                </c:pt>
                <c:pt idx="128">
                  <c:v>33.162574559709014</c:v>
                </c:pt>
                <c:pt idx="129">
                  <c:v>33.255746193636533</c:v>
                </c:pt>
                <c:pt idx="130">
                  <c:v>36.472559161301149</c:v>
                </c:pt>
                <c:pt idx="131">
                  <c:v>35.313624794936494</c:v>
                </c:pt>
                <c:pt idx="132">
                  <c:v>35.697983889155786</c:v>
                </c:pt>
                <c:pt idx="133">
                  <c:v>36.967733256417887</c:v>
                </c:pt>
                <c:pt idx="134">
                  <c:v>40.118607572084997</c:v>
                </c:pt>
                <c:pt idx="135">
                  <c:v>42.350597690392796</c:v>
                </c:pt>
                <c:pt idx="136">
                  <c:v>45.10969465919387</c:v>
                </c:pt>
                <c:pt idx="137">
                  <c:v>46.289379653165824</c:v>
                </c:pt>
                <c:pt idx="138">
                  <c:v>48.613075880839062</c:v>
                </c:pt>
                <c:pt idx="139">
                  <c:v>39.922194389504618</c:v>
                </c:pt>
                <c:pt idx="140">
                  <c:v>44.356943711500456</c:v>
                </c:pt>
                <c:pt idx="141">
                  <c:v>48.17236849190575</c:v>
                </c:pt>
                <c:pt idx="142">
                  <c:v>47.732330476611907</c:v>
                </c:pt>
                <c:pt idx="143">
                  <c:v>47.349722844983852</c:v>
                </c:pt>
                <c:pt idx="144">
                  <c:v>46.366492237799847</c:v>
                </c:pt>
                <c:pt idx="145">
                  <c:v>42.850785137331783</c:v>
                </c:pt>
                <c:pt idx="146">
                  <c:v>40.936870567955872</c:v>
                </c:pt>
                <c:pt idx="147">
                  <c:v>42.663097570637106</c:v>
                </c:pt>
                <c:pt idx="148">
                  <c:v>44.188763649494703</c:v>
                </c:pt>
                <c:pt idx="149">
                  <c:v>42.280079091609373</c:v>
                </c:pt>
                <c:pt idx="150">
                  <c:v>40.173746314605879</c:v>
                </c:pt>
                <c:pt idx="151">
                  <c:v>44.803800185193367</c:v>
                </c:pt>
                <c:pt idx="152">
                  <c:v>48.131550693285867</c:v>
                </c:pt>
              </c:numCache>
            </c:numRef>
          </c:val>
          <c:extLst>
            <c:ext xmlns:c16="http://schemas.microsoft.com/office/drawing/2014/chart" uri="{C3380CC4-5D6E-409C-BE32-E72D297353CC}">
              <c16:uniqueId val="{00000000-B8FB-4620-AD32-BE545E49904E}"/>
            </c:ext>
          </c:extLst>
        </c:ser>
        <c:dLbls>
          <c:showLegendKey val="0"/>
          <c:showVal val="0"/>
          <c:showCatName val="0"/>
          <c:showSerName val="0"/>
          <c:showPercent val="0"/>
          <c:showBubbleSize val="0"/>
        </c:dLbls>
        <c:axId val="646412248"/>
        <c:axId val="646413688"/>
      </c:areaChart>
      <c:catAx>
        <c:axId val="646412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646413688"/>
        <c:crosses val="autoZero"/>
        <c:auto val="1"/>
        <c:lblAlgn val="ctr"/>
        <c:lblOffset val="100"/>
        <c:noMultiLvlLbl val="0"/>
      </c:catAx>
      <c:valAx>
        <c:axId val="64641368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64641224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800">
          <a:latin typeface="Arial" panose="020B0604020202020204" pitchFamily="34" charset="0"/>
          <a:cs typeface="Arial" panose="020B0604020202020204" pitchFamily="34" charset="0"/>
        </a:defRPr>
      </a:pPr>
      <a:endParaRPr lang="ru-RU"/>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2978973505184416E-2"/>
          <c:y val="3.0787044945233152E-2"/>
          <c:w val="0.92602350904937891"/>
          <c:h val="0.94277013702673007"/>
        </c:manualLayout>
      </c:layout>
      <c:lineChart>
        <c:grouping val="standard"/>
        <c:varyColors val="0"/>
        <c:ser>
          <c:idx val="1"/>
          <c:order val="0"/>
          <c:tx>
            <c:v>BoJ</c:v>
          </c:tx>
          <c:spPr>
            <a:ln>
              <a:solidFill>
                <a:srgbClr val="1F497D"/>
              </a:solidFill>
            </a:ln>
          </c:spPr>
          <c:marker>
            <c:symbol val="none"/>
          </c:marker>
          <c:cat>
            <c:numRef>
              <c:f>dev_rates!$A$3:$A$253</c:f>
              <c:numCache>
                <c:formatCode>m/d/yyyy</c:formatCode>
                <c:ptCount val="251"/>
                <c:pt idx="0">
                  <c:v>37287</c:v>
                </c:pt>
                <c:pt idx="1">
                  <c:v>37315</c:v>
                </c:pt>
                <c:pt idx="2">
                  <c:v>37344</c:v>
                </c:pt>
                <c:pt idx="3">
                  <c:v>37376</c:v>
                </c:pt>
                <c:pt idx="4">
                  <c:v>37407</c:v>
                </c:pt>
                <c:pt idx="5">
                  <c:v>37435</c:v>
                </c:pt>
                <c:pt idx="6">
                  <c:v>37468</c:v>
                </c:pt>
                <c:pt idx="7">
                  <c:v>37498</c:v>
                </c:pt>
                <c:pt idx="8">
                  <c:v>37529</c:v>
                </c:pt>
                <c:pt idx="9">
                  <c:v>37560</c:v>
                </c:pt>
                <c:pt idx="10">
                  <c:v>37589</c:v>
                </c:pt>
                <c:pt idx="11">
                  <c:v>37621</c:v>
                </c:pt>
                <c:pt idx="12">
                  <c:v>37652</c:v>
                </c:pt>
                <c:pt idx="13">
                  <c:v>37680</c:v>
                </c:pt>
                <c:pt idx="14">
                  <c:v>37711</c:v>
                </c:pt>
                <c:pt idx="15">
                  <c:v>37741</c:v>
                </c:pt>
                <c:pt idx="16">
                  <c:v>37771</c:v>
                </c:pt>
                <c:pt idx="17">
                  <c:v>37802</c:v>
                </c:pt>
                <c:pt idx="18">
                  <c:v>37833</c:v>
                </c:pt>
                <c:pt idx="19">
                  <c:v>37862</c:v>
                </c:pt>
                <c:pt idx="20">
                  <c:v>37894</c:v>
                </c:pt>
                <c:pt idx="21">
                  <c:v>37925</c:v>
                </c:pt>
                <c:pt idx="22">
                  <c:v>37953</c:v>
                </c:pt>
                <c:pt idx="23">
                  <c:v>37986</c:v>
                </c:pt>
                <c:pt idx="24">
                  <c:v>38016</c:v>
                </c:pt>
                <c:pt idx="25">
                  <c:v>38044</c:v>
                </c:pt>
                <c:pt idx="26">
                  <c:v>38077</c:v>
                </c:pt>
                <c:pt idx="27">
                  <c:v>38107</c:v>
                </c:pt>
                <c:pt idx="28">
                  <c:v>38138</c:v>
                </c:pt>
                <c:pt idx="29">
                  <c:v>38168</c:v>
                </c:pt>
                <c:pt idx="30">
                  <c:v>38198</c:v>
                </c:pt>
                <c:pt idx="31">
                  <c:v>38230</c:v>
                </c:pt>
                <c:pt idx="32">
                  <c:v>38260</c:v>
                </c:pt>
                <c:pt idx="33">
                  <c:v>38289</c:v>
                </c:pt>
                <c:pt idx="34">
                  <c:v>38321</c:v>
                </c:pt>
                <c:pt idx="35">
                  <c:v>38352</c:v>
                </c:pt>
                <c:pt idx="36">
                  <c:v>38383</c:v>
                </c:pt>
                <c:pt idx="37">
                  <c:v>38411</c:v>
                </c:pt>
                <c:pt idx="38">
                  <c:v>38442</c:v>
                </c:pt>
                <c:pt idx="39">
                  <c:v>38471</c:v>
                </c:pt>
                <c:pt idx="40">
                  <c:v>38503</c:v>
                </c:pt>
                <c:pt idx="41">
                  <c:v>38533</c:v>
                </c:pt>
                <c:pt idx="42">
                  <c:v>38562</c:v>
                </c:pt>
                <c:pt idx="43">
                  <c:v>38595</c:v>
                </c:pt>
                <c:pt idx="44">
                  <c:v>38625</c:v>
                </c:pt>
                <c:pt idx="45">
                  <c:v>38656</c:v>
                </c:pt>
                <c:pt idx="46">
                  <c:v>38686</c:v>
                </c:pt>
                <c:pt idx="47">
                  <c:v>38716</c:v>
                </c:pt>
                <c:pt idx="48">
                  <c:v>38748</c:v>
                </c:pt>
                <c:pt idx="49">
                  <c:v>38776</c:v>
                </c:pt>
                <c:pt idx="50">
                  <c:v>38807</c:v>
                </c:pt>
                <c:pt idx="51">
                  <c:v>38835</c:v>
                </c:pt>
                <c:pt idx="52">
                  <c:v>38868</c:v>
                </c:pt>
                <c:pt idx="53">
                  <c:v>38898</c:v>
                </c:pt>
                <c:pt idx="54">
                  <c:v>38929</c:v>
                </c:pt>
                <c:pt idx="55">
                  <c:v>38960</c:v>
                </c:pt>
                <c:pt idx="56">
                  <c:v>38989</c:v>
                </c:pt>
                <c:pt idx="57">
                  <c:v>39021</c:v>
                </c:pt>
                <c:pt idx="58">
                  <c:v>39051</c:v>
                </c:pt>
                <c:pt idx="59">
                  <c:v>39080</c:v>
                </c:pt>
                <c:pt idx="60">
                  <c:v>39113</c:v>
                </c:pt>
                <c:pt idx="61">
                  <c:v>39141</c:v>
                </c:pt>
                <c:pt idx="62">
                  <c:v>39171</c:v>
                </c:pt>
                <c:pt idx="63">
                  <c:v>39202</c:v>
                </c:pt>
                <c:pt idx="64">
                  <c:v>39233</c:v>
                </c:pt>
                <c:pt idx="65">
                  <c:v>39262</c:v>
                </c:pt>
                <c:pt idx="66">
                  <c:v>39294</c:v>
                </c:pt>
                <c:pt idx="67">
                  <c:v>39325</c:v>
                </c:pt>
                <c:pt idx="68">
                  <c:v>39353</c:v>
                </c:pt>
                <c:pt idx="69">
                  <c:v>39386</c:v>
                </c:pt>
                <c:pt idx="70">
                  <c:v>39416</c:v>
                </c:pt>
                <c:pt idx="71">
                  <c:v>39447</c:v>
                </c:pt>
                <c:pt idx="72">
                  <c:v>39478</c:v>
                </c:pt>
                <c:pt idx="73">
                  <c:v>39507</c:v>
                </c:pt>
                <c:pt idx="74">
                  <c:v>39538</c:v>
                </c:pt>
                <c:pt idx="75">
                  <c:v>39568</c:v>
                </c:pt>
                <c:pt idx="76">
                  <c:v>39598</c:v>
                </c:pt>
                <c:pt idx="77">
                  <c:v>39629</c:v>
                </c:pt>
                <c:pt idx="78">
                  <c:v>39660</c:v>
                </c:pt>
                <c:pt idx="79">
                  <c:v>39689</c:v>
                </c:pt>
                <c:pt idx="80">
                  <c:v>39721</c:v>
                </c:pt>
                <c:pt idx="81">
                  <c:v>39752</c:v>
                </c:pt>
                <c:pt idx="82">
                  <c:v>39780</c:v>
                </c:pt>
                <c:pt idx="83">
                  <c:v>39813</c:v>
                </c:pt>
                <c:pt idx="84">
                  <c:v>39843</c:v>
                </c:pt>
                <c:pt idx="85">
                  <c:v>39871</c:v>
                </c:pt>
                <c:pt idx="86">
                  <c:v>39903</c:v>
                </c:pt>
                <c:pt idx="87">
                  <c:v>39933</c:v>
                </c:pt>
                <c:pt idx="88">
                  <c:v>39962</c:v>
                </c:pt>
                <c:pt idx="89">
                  <c:v>39994</c:v>
                </c:pt>
                <c:pt idx="90">
                  <c:v>40025</c:v>
                </c:pt>
                <c:pt idx="91">
                  <c:v>40056</c:v>
                </c:pt>
                <c:pt idx="92">
                  <c:v>40086</c:v>
                </c:pt>
                <c:pt idx="93">
                  <c:v>40116</c:v>
                </c:pt>
                <c:pt idx="94">
                  <c:v>40147</c:v>
                </c:pt>
                <c:pt idx="95">
                  <c:v>40178</c:v>
                </c:pt>
                <c:pt idx="96">
                  <c:v>40207</c:v>
                </c:pt>
                <c:pt idx="97">
                  <c:v>40235</c:v>
                </c:pt>
                <c:pt idx="98">
                  <c:v>40268</c:v>
                </c:pt>
                <c:pt idx="99">
                  <c:v>40298</c:v>
                </c:pt>
                <c:pt idx="100">
                  <c:v>40329</c:v>
                </c:pt>
                <c:pt idx="101">
                  <c:v>40359</c:v>
                </c:pt>
                <c:pt idx="102">
                  <c:v>40389</c:v>
                </c:pt>
                <c:pt idx="103">
                  <c:v>40421</c:v>
                </c:pt>
                <c:pt idx="104">
                  <c:v>40451</c:v>
                </c:pt>
                <c:pt idx="105">
                  <c:v>40480</c:v>
                </c:pt>
                <c:pt idx="106">
                  <c:v>40512</c:v>
                </c:pt>
                <c:pt idx="107">
                  <c:v>40543</c:v>
                </c:pt>
                <c:pt idx="108">
                  <c:v>40574</c:v>
                </c:pt>
                <c:pt idx="109">
                  <c:v>40602</c:v>
                </c:pt>
                <c:pt idx="110">
                  <c:v>40633</c:v>
                </c:pt>
                <c:pt idx="111">
                  <c:v>40662</c:v>
                </c:pt>
                <c:pt idx="112">
                  <c:v>40694</c:v>
                </c:pt>
                <c:pt idx="113">
                  <c:v>40724</c:v>
                </c:pt>
                <c:pt idx="114">
                  <c:v>40753</c:v>
                </c:pt>
                <c:pt idx="115">
                  <c:v>40786</c:v>
                </c:pt>
                <c:pt idx="116">
                  <c:v>40816</c:v>
                </c:pt>
                <c:pt idx="117">
                  <c:v>40847</c:v>
                </c:pt>
                <c:pt idx="118">
                  <c:v>40877</c:v>
                </c:pt>
                <c:pt idx="119">
                  <c:v>40907</c:v>
                </c:pt>
                <c:pt idx="120">
                  <c:v>40939</c:v>
                </c:pt>
                <c:pt idx="121">
                  <c:v>40968</c:v>
                </c:pt>
                <c:pt idx="122">
                  <c:v>40998</c:v>
                </c:pt>
                <c:pt idx="123">
                  <c:v>41029</c:v>
                </c:pt>
                <c:pt idx="124">
                  <c:v>41060</c:v>
                </c:pt>
                <c:pt idx="125">
                  <c:v>41089</c:v>
                </c:pt>
                <c:pt idx="126">
                  <c:v>41121</c:v>
                </c:pt>
                <c:pt idx="127">
                  <c:v>41152</c:v>
                </c:pt>
                <c:pt idx="128">
                  <c:v>41180</c:v>
                </c:pt>
                <c:pt idx="129">
                  <c:v>41213</c:v>
                </c:pt>
                <c:pt idx="130">
                  <c:v>41243</c:v>
                </c:pt>
                <c:pt idx="131">
                  <c:v>41274</c:v>
                </c:pt>
                <c:pt idx="132">
                  <c:v>41305</c:v>
                </c:pt>
                <c:pt idx="133">
                  <c:v>41333</c:v>
                </c:pt>
                <c:pt idx="134">
                  <c:v>41362</c:v>
                </c:pt>
                <c:pt idx="135">
                  <c:v>41394</c:v>
                </c:pt>
                <c:pt idx="136">
                  <c:v>41425</c:v>
                </c:pt>
                <c:pt idx="137">
                  <c:v>41453</c:v>
                </c:pt>
                <c:pt idx="138">
                  <c:v>41486</c:v>
                </c:pt>
                <c:pt idx="139">
                  <c:v>41516</c:v>
                </c:pt>
                <c:pt idx="140">
                  <c:v>41547</c:v>
                </c:pt>
                <c:pt idx="141">
                  <c:v>41578</c:v>
                </c:pt>
                <c:pt idx="142">
                  <c:v>41607</c:v>
                </c:pt>
                <c:pt idx="143">
                  <c:v>41639</c:v>
                </c:pt>
                <c:pt idx="144">
                  <c:v>41670</c:v>
                </c:pt>
                <c:pt idx="145">
                  <c:v>41698</c:v>
                </c:pt>
                <c:pt idx="146">
                  <c:v>41729</c:v>
                </c:pt>
                <c:pt idx="147">
                  <c:v>41759</c:v>
                </c:pt>
                <c:pt idx="148">
                  <c:v>41789</c:v>
                </c:pt>
                <c:pt idx="149">
                  <c:v>41820</c:v>
                </c:pt>
                <c:pt idx="150">
                  <c:v>41851</c:v>
                </c:pt>
                <c:pt idx="151">
                  <c:v>41880</c:v>
                </c:pt>
                <c:pt idx="152">
                  <c:v>41912</c:v>
                </c:pt>
                <c:pt idx="153">
                  <c:v>41943</c:v>
                </c:pt>
                <c:pt idx="154">
                  <c:v>41971</c:v>
                </c:pt>
                <c:pt idx="155">
                  <c:v>42004</c:v>
                </c:pt>
                <c:pt idx="156">
                  <c:v>42034</c:v>
                </c:pt>
                <c:pt idx="157">
                  <c:v>42062</c:v>
                </c:pt>
                <c:pt idx="158">
                  <c:v>42094</c:v>
                </c:pt>
                <c:pt idx="159">
                  <c:v>42124</c:v>
                </c:pt>
                <c:pt idx="160">
                  <c:v>42153</c:v>
                </c:pt>
                <c:pt idx="161">
                  <c:v>42185</c:v>
                </c:pt>
                <c:pt idx="162">
                  <c:v>42216</c:v>
                </c:pt>
                <c:pt idx="163">
                  <c:v>42247</c:v>
                </c:pt>
                <c:pt idx="164">
                  <c:v>42277</c:v>
                </c:pt>
                <c:pt idx="165">
                  <c:v>42307</c:v>
                </c:pt>
                <c:pt idx="166">
                  <c:v>42338</c:v>
                </c:pt>
                <c:pt idx="167">
                  <c:v>42369</c:v>
                </c:pt>
                <c:pt idx="168">
                  <c:v>42398</c:v>
                </c:pt>
                <c:pt idx="169">
                  <c:v>42429</c:v>
                </c:pt>
                <c:pt idx="170">
                  <c:v>42460</c:v>
                </c:pt>
                <c:pt idx="171">
                  <c:v>42489</c:v>
                </c:pt>
                <c:pt idx="172">
                  <c:v>42521</c:v>
                </c:pt>
                <c:pt idx="173">
                  <c:v>42551</c:v>
                </c:pt>
                <c:pt idx="174">
                  <c:v>42580</c:v>
                </c:pt>
                <c:pt idx="175">
                  <c:v>42613</c:v>
                </c:pt>
                <c:pt idx="176">
                  <c:v>42643</c:v>
                </c:pt>
                <c:pt idx="177">
                  <c:v>42674</c:v>
                </c:pt>
                <c:pt idx="178">
                  <c:v>42704</c:v>
                </c:pt>
                <c:pt idx="179">
                  <c:v>42734</c:v>
                </c:pt>
                <c:pt idx="180">
                  <c:v>42766</c:v>
                </c:pt>
                <c:pt idx="181">
                  <c:v>42794</c:v>
                </c:pt>
                <c:pt idx="182">
                  <c:v>42825</c:v>
                </c:pt>
                <c:pt idx="183">
                  <c:v>42853</c:v>
                </c:pt>
                <c:pt idx="184">
                  <c:v>42886</c:v>
                </c:pt>
                <c:pt idx="185">
                  <c:v>42916</c:v>
                </c:pt>
                <c:pt idx="186">
                  <c:v>42947</c:v>
                </c:pt>
                <c:pt idx="187">
                  <c:v>42978</c:v>
                </c:pt>
                <c:pt idx="188">
                  <c:v>43007</c:v>
                </c:pt>
                <c:pt idx="189">
                  <c:v>43039</c:v>
                </c:pt>
                <c:pt idx="190">
                  <c:v>43069</c:v>
                </c:pt>
                <c:pt idx="191">
                  <c:v>43098</c:v>
                </c:pt>
                <c:pt idx="192">
                  <c:v>43131</c:v>
                </c:pt>
                <c:pt idx="193">
                  <c:v>43159</c:v>
                </c:pt>
                <c:pt idx="194">
                  <c:v>43189</c:v>
                </c:pt>
                <c:pt idx="195">
                  <c:v>43220</c:v>
                </c:pt>
                <c:pt idx="196">
                  <c:v>43251</c:v>
                </c:pt>
                <c:pt idx="197">
                  <c:v>43280</c:v>
                </c:pt>
                <c:pt idx="198">
                  <c:v>43312</c:v>
                </c:pt>
                <c:pt idx="199">
                  <c:v>43343</c:v>
                </c:pt>
                <c:pt idx="200">
                  <c:v>43371</c:v>
                </c:pt>
                <c:pt idx="201">
                  <c:v>43404</c:v>
                </c:pt>
                <c:pt idx="202">
                  <c:v>43434</c:v>
                </c:pt>
                <c:pt idx="203">
                  <c:v>43465</c:v>
                </c:pt>
                <c:pt idx="204">
                  <c:v>43496</c:v>
                </c:pt>
                <c:pt idx="205">
                  <c:v>43524</c:v>
                </c:pt>
                <c:pt idx="206">
                  <c:v>43553</c:v>
                </c:pt>
                <c:pt idx="207">
                  <c:v>43585</c:v>
                </c:pt>
                <c:pt idx="208">
                  <c:v>43616</c:v>
                </c:pt>
                <c:pt idx="209">
                  <c:v>43644</c:v>
                </c:pt>
                <c:pt idx="210">
                  <c:v>43677</c:v>
                </c:pt>
                <c:pt idx="211">
                  <c:v>43707</c:v>
                </c:pt>
                <c:pt idx="212">
                  <c:v>43738</c:v>
                </c:pt>
                <c:pt idx="213">
                  <c:v>43769</c:v>
                </c:pt>
                <c:pt idx="214">
                  <c:v>43798</c:v>
                </c:pt>
                <c:pt idx="215">
                  <c:v>43830</c:v>
                </c:pt>
                <c:pt idx="216">
                  <c:v>43861</c:v>
                </c:pt>
                <c:pt idx="217">
                  <c:v>43889</c:v>
                </c:pt>
                <c:pt idx="218">
                  <c:v>43921</c:v>
                </c:pt>
                <c:pt idx="219">
                  <c:v>43951</c:v>
                </c:pt>
                <c:pt idx="220">
                  <c:v>43980</c:v>
                </c:pt>
                <c:pt idx="221">
                  <c:v>44012</c:v>
                </c:pt>
                <c:pt idx="222">
                  <c:v>44043</c:v>
                </c:pt>
                <c:pt idx="223">
                  <c:v>44074</c:v>
                </c:pt>
                <c:pt idx="224">
                  <c:v>44104</c:v>
                </c:pt>
                <c:pt idx="225">
                  <c:v>44134</c:v>
                </c:pt>
                <c:pt idx="226">
                  <c:v>44165</c:v>
                </c:pt>
                <c:pt idx="227">
                  <c:v>44196</c:v>
                </c:pt>
                <c:pt idx="228">
                  <c:v>44225</c:v>
                </c:pt>
                <c:pt idx="229">
                  <c:v>44253</c:v>
                </c:pt>
                <c:pt idx="230">
                  <c:v>44286</c:v>
                </c:pt>
                <c:pt idx="231">
                  <c:v>44316</c:v>
                </c:pt>
                <c:pt idx="232">
                  <c:v>44347</c:v>
                </c:pt>
                <c:pt idx="233">
                  <c:v>44377</c:v>
                </c:pt>
                <c:pt idx="234">
                  <c:v>44407</c:v>
                </c:pt>
                <c:pt idx="235">
                  <c:v>44439</c:v>
                </c:pt>
                <c:pt idx="236">
                  <c:v>44469</c:v>
                </c:pt>
                <c:pt idx="237">
                  <c:v>44498</c:v>
                </c:pt>
                <c:pt idx="238">
                  <c:v>44530</c:v>
                </c:pt>
                <c:pt idx="239">
                  <c:v>44561</c:v>
                </c:pt>
                <c:pt idx="240">
                  <c:v>44592</c:v>
                </c:pt>
                <c:pt idx="241">
                  <c:v>44620</c:v>
                </c:pt>
                <c:pt idx="242">
                  <c:v>44651</c:v>
                </c:pt>
                <c:pt idx="243">
                  <c:v>44681</c:v>
                </c:pt>
                <c:pt idx="244">
                  <c:v>44712</c:v>
                </c:pt>
                <c:pt idx="245">
                  <c:v>44742</c:v>
                </c:pt>
                <c:pt idx="246">
                  <c:v>44773</c:v>
                </c:pt>
                <c:pt idx="247">
                  <c:v>44804</c:v>
                </c:pt>
                <c:pt idx="248">
                  <c:v>44834</c:v>
                </c:pt>
                <c:pt idx="249">
                  <c:v>44865</c:v>
                </c:pt>
                <c:pt idx="250">
                  <c:v>44895</c:v>
                </c:pt>
              </c:numCache>
            </c:numRef>
          </c:cat>
          <c:val>
            <c:numRef>
              <c:f>dev_rates!$B$3:$B$253</c:f>
              <c:numCache>
                <c:formatCode>General</c:formatCode>
                <c:ptCount val="2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25</c:v>
                </c:pt>
                <c:pt idx="55">
                  <c:v>0.25</c:v>
                </c:pt>
                <c:pt idx="56">
                  <c:v>0.25</c:v>
                </c:pt>
                <c:pt idx="57">
                  <c:v>0.25</c:v>
                </c:pt>
                <c:pt idx="58">
                  <c:v>0.25</c:v>
                </c:pt>
                <c:pt idx="59">
                  <c:v>0.25</c:v>
                </c:pt>
                <c:pt idx="60">
                  <c:v>0.25</c:v>
                </c:pt>
                <c:pt idx="61">
                  <c:v>0.5</c:v>
                </c:pt>
                <c:pt idx="62">
                  <c:v>0.5</c:v>
                </c:pt>
                <c:pt idx="63">
                  <c:v>0.5</c:v>
                </c:pt>
                <c:pt idx="64">
                  <c:v>0.5</c:v>
                </c:pt>
                <c:pt idx="65">
                  <c:v>0.5</c:v>
                </c:pt>
                <c:pt idx="66">
                  <c:v>0.5</c:v>
                </c:pt>
                <c:pt idx="67">
                  <c:v>0.5</c:v>
                </c:pt>
                <c:pt idx="68">
                  <c:v>0.5</c:v>
                </c:pt>
                <c:pt idx="69">
                  <c:v>0.5</c:v>
                </c:pt>
                <c:pt idx="70">
                  <c:v>0.5</c:v>
                </c:pt>
                <c:pt idx="71">
                  <c:v>0.5</c:v>
                </c:pt>
                <c:pt idx="72">
                  <c:v>0.5</c:v>
                </c:pt>
                <c:pt idx="73">
                  <c:v>0.5</c:v>
                </c:pt>
                <c:pt idx="74">
                  <c:v>0.5</c:v>
                </c:pt>
                <c:pt idx="75">
                  <c:v>0.5</c:v>
                </c:pt>
                <c:pt idx="76">
                  <c:v>0.5</c:v>
                </c:pt>
                <c:pt idx="77">
                  <c:v>0.5</c:v>
                </c:pt>
                <c:pt idx="78">
                  <c:v>0.5</c:v>
                </c:pt>
                <c:pt idx="79">
                  <c:v>0.5</c:v>
                </c:pt>
                <c:pt idx="80">
                  <c:v>0.5</c:v>
                </c:pt>
                <c:pt idx="81">
                  <c:v>0.3</c:v>
                </c:pt>
                <c:pt idx="82">
                  <c:v>0.3</c:v>
                </c:pt>
                <c:pt idx="83">
                  <c:v>0.1</c:v>
                </c:pt>
                <c:pt idx="84">
                  <c:v>0.1</c:v>
                </c:pt>
                <c:pt idx="85">
                  <c:v>0.1</c:v>
                </c:pt>
                <c:pt idx="86">
                  <c:v>0.1</c:v>
                </c:pt>
                <c:pt idx="87">
                  <c:v>0.1</c:v>
                </c:pt>
                <c:pt idx="88">
                  <c:v>0.1</c:v>
                </c:pt>
                <c:pt idx="89">
                  <c:v>0.1</c:v>
                </c:pt>
                <c:pt idx="90">
                  <c:v>0.1</c:v>
                </c:pt>
                <c:pt idx="91">
                  <c:v>0.1</c:v>
                </c:pt>
                <c:pt idx="92">
                  <c:v>0.1</c:v>
                </c:pt>
                <c:pt idx="93">
                  <c:v>0.1</c:v>
                </c:pt>
                <c:pt idx="94">
                  <c:v>0.1</c:v>
                </c:pt>
                <c:pt idx="95">
                  <c:v>0.1</c:v>
                </c:pt>
                <c:pt idx="96">
                  <c:v>0.1</c:v>
                </c:pt>
                <c:pt idx="97">
                  <c:v>0.1</c:v>
                </c:pt>
                <c:pt idx="98">
                  <c:v>0.1</c:v>
                </c:pt>
                <c:pt idx="99">
                  <c:v>0.1</c:v>
                </c:pt>
                <c:pt idx="100">
                  <c:v>0.1</c:v>
                </c:pt>
                <c:pt idx="101">
                  <c:v>0.1</c:v>
                </c:pt>
                <c:pt idx="102">
                  <c:v>0.1</c:v>
                </c:pt>
                <c:pt idx="103">
                  <c:v>0.1</c:v>
                </c:pt>
                <c:pt idx="104">
                  <c:v>0.1</c:v>
                </c:pt>
                <c:pt idx="105">
                  <c:v>0.1</c:v>
                </c:pt>
                <c:pt idx="106">
                  <c:v>0.1</c:v>
                </c:pt>
                <c:pt idx="107">
                  <c:v>0.1</c:v>
                </c:pt>
                <c:pt idx="108">
                  <c:v>0.1</c:v>
                </c:pt>
                <c:pt idx="109">
                  <c:v>0.1</c:v>
                </c:pt>
                <c:pt idx="110">
                  <c:v>0.1</c:v>
                </c:pt>
                <c:pt idx="111">
                  <c:v>0.1</c:v>
                </c:pt>
                <c:pt idx="112">
                  <c:v>0.1</c:v>
                </c:pt>
                <c:pt idx="113">
                  <c:v>0.1</c:v>
                </c:pt>
                <c:pt idx="114">
                  <c:v>0.1</c:v>
                </c:pt>
                <c:pt idx="115">
                  <c:v>0.1</c:v>
                </c:pt>
                <c:pt idx="116">
                  <c:v>0.1</c:v>
                </c:pt>
                <c:pt idx="117">
                  <c:v>0.1</c:v>
                </c:pt>
                <c:pt idx="118">
                  <c:v>0.1</c:v>
                </c:pt>
                <c:pt idx="119">
                  <c:v>0.1</c:v>
                </c:pt>
                <c:pt idx="120">
                  <c:v>0.1</c:v>
                </c:pt>
                <c:pt idx="121">
                  <c:v>0.1</c:v>
                </c:pt>
                <c:pt idx="122">
                  <c:v>0.1</c:v>
                </c:pt>
                <c:pt idx="123">
                  <c:v>0.1</c:v>
                </c:pt>
                <c:pt idx="124">
                  <c:v>0.1</c:v>
                </c:pt>
                <c:pt idx="125">
                  <c:v>0.1</c:v>
                </c:pt>
                <c:pt idx="126">
                  <c:v>0.1</c:v>
                </c:pt>
                <c:pt idx="127">
                  <c:v>0.1</c:v>
                </c:pt>
                <c:pt idx="128">
                  <c:v>0.1</c:v>
                </c:pt>
                <c:pt idx="129">
                  <c:v>0.1</c:v>
                </c:pt>
                <c:pt idx="130">
                  <c:v>0.1</c:v>
                </c:pt>
                <c:pt idx="131">
                  <c:v>0.1</c:v>
                </c:pt>
                <c:pt idx="132">
                  <c:v>0.1</c:v>
                </c:pt>
                <c:pt idx="133">
                  <c:v>0.1</c:v>
                </c:pt>
                <c:pt idx="134">
                  <c:v>0.1</c:v>
                </c:pt>
                <c:pt idx="135">
                  <c:v>0.1</c:v>
                </c:pt>
                <c:pt idx="136">
                  <c:v>0.1</c:v>
                </c:pt>
                <c:pt idx="137">
                  <c:v>0.1</c:v>
                </c:pt>
                <c:pt idx="138">
                  <c:v>0.1</c:v>
                </c:pt>
                <c:pt idx="139">
                  <c:v>0.1</c:v>
                </c:pt>
                <c:pt idx="140">
                  <c:v>0.1</c:v>
                </c:pt>
                <c:pt idx="141">
                  <c:v>0.1</c:v>
                </c:pt>
                <c:pt idx="142">
                  <c:v>0.1</c:v>
                </c:pt>
                <c:pt idx="143">
                  <c:v>0.1</c:v>
                </c:pt>
                <c:pt idx="144">
                  <c:v>0.1</c:v>
                </c:pt>
                <c:pt idx="145">
                  <c:v>0.1</c:v>
                </c:pt>
                <c:pt idx="146">
                  <c:v>0.1</c:v>
                </c:pt>
                <c:pt idx="147">
                  <c:v>0.1</c:v>
                </c:pt>
                <c:pt idx="148">
                  <c:v>0.1</c:v>
                </c:pt>
                <c:pt idx="149">
                  <c:v>0.1</c:v>
                </c:pt>
                <c:pt idx="150">
                  <c:v>0.1</c:v>
                </c:pt>
                <c:pt idx="151">
                  <c:v>0.1</c:v>
                </c:pt>
                <c:pt idx="152">
                  <c:v>0.1</c:v>
                </c:pt>
                <c:pt idx="153">
                  <c:v>0.1</c:v>
                </c:pt>
                <c:pt idx="154">
                  <c:v>0.1</c:v>
                </c:pt>
                <c:pt idx="155">
                  <c:v>0.1</c:v>
                </c:pt>
                <c:pt idx="156">
                  <c:v>0.1</c:v>
                </c:pt>
                <c:pt idx="157">
                  <c:v>0.1</c:v>
                </c:pt>
                <c:pt idx="158">
                  <c:v>0.1</c:v>
                </c:pt>
                <c:pt idx="159">
                  <c:v>0.1</c:v>
                </c:pt>
                <c:pt idx="160">
                  <c:v>0.1</c:v>
                </c:pt>
                <c:pt idx="161">
                  <c:v>0.1</c:v>
                </c:pt>
                <c:pt idx="162">
                  <c:v>0.1</c:v>
                </c:pt>
                <c:pt idx="163">
                  <c:v>0.1</c:v>
                </c:pt>
                <c:pt idx="164">
                  <c:v>0.1</c:v>
                </c:pt>
                <c:pt idx="165">
                  <c:v>0.1</c:v>
                </c:pt>
                <c:pt idx="166">
                  <c:v>0.1</c:v>
                </c:pt>
                <c:pt idx="167">
                  <c:v>0.1</c:v>
                </c:pt>
                <c:pt idx="168">
                  <c:v>0.1</c:v>
                </c:pt>
                <c:pt idx="169">
                  <c:v>-0.1</c:v>
                </c:pt>
                <c:pt idx="170">
                  <c:v>-0.1</c:v>
                </c:pt>
                <c:pt idx="171">
                  <c:v>-0.1</c:v>
                </c:pt>
                <c:pt idx="172">
                  <c:v>-0.1</c:v>
                </c:pt>
                <c:pt idx="173">
                  <c:v>-0.1</c:v>
                </c:pt>
                <c:pt idx="174">
                  <c:v>-0.1</c:v>
                </c:pt>
                <c:pt idx="175">
                  <c:v>-0.1</c:v>
                </c:pt>
                <c:pt idx="176">
                  <c:v>-0.1</c:v>
                </c:pt>
                <c:pt idx="177">
                  <c:v>-0.1</c:v>
                </c:pt>
                <c:pt idx="178">
                  <c:v>-0.1</c:v>
                </c:pt>
                <c:pt idx="179">
                  <c:v>-0.1</c:v>
                </c:pt>
                <c:pt idx="180">
                  <c:v>-0.1</c:v>
                </c:pt>
                <c:pt idx="181">
                  <c:v>-0.1</c:v>
                </c:pt>
                <c:pt idx="182">
                  <c:v>-0.1</c:v>
                </c:pt>
                <c:pt idx="183">
                  <c:v>-0.1</c:v>
                </c:pt>
                <c:pt idx="184">
                  <c:v>-0.1</c:v>
                </c:pt>
                <c:pt idx="185">
                  <c:v>-0.1</c:v>
                </c:pt>
                <c:pt idx="186">
                  <c:v>-0.1</c:v>
                </c:pt>
                <c:pt idx="187">
                  <c:v>-0.1</c:v>
                </c:pt>
                <c:pt idx="188">
                  <c:v>-0.1</c:v>
                </c:pt>
                <c:pt idx="189">
                  <c:v>-0.1</c:v>
                </c:pt>
                <c:pt idx="190">
                  <c:v>-0.1</c:v>
                </c:pt>
                <c:pt idx="191">
                  <c:v>-0.1</c:v>
                </c:pt>
                <c:pt idx="192">
                  <c:v>-0.1</c:v>
                </c:pt>
                <c:pt idx="193">
                  <c:v>-0.1</c:v>
                </c:pt>
                <c:pt idx="194">
                  <c:v>-0.1</c:v>
                </c:pt>
                <c:pt idx="195">
                  <c:v>-0.1</c:v>
                </c:pt>
                <c:pt idx="196">
                  <c:v>-0.1</c:v>
                </c:pt>
                <c:pt idx="197">
                  <c:v>-0.1</c:v>
                </c:pt>
                <c:pt idx="198">
                  <c:v>-0.1</c:v>
                </c:pt>
                <c:pt idx="199">
                  <c:v>-0.1</c:v>
                </c:pt>
                <c:pt idx="200">
                  <c:v>-0.1</c:v>
                </c:pt>
                <c:pt idx="201">
                  <c:v>-0.1</c:v>
                </c:pt>
                <c:pt idx="202">
                  <c:v>-0.1</c:v>
                </c:pt>
                <c:pt idx="203">
                  <c:v>-0.1</c:v>
                </c:pt>
                <c:pt idx="204">
                  <c:v>-0.1</c:v>
                </c:pt>
                <c:pt idx="205">
                  <c:v>-0.1</c:v>
                </c:pt>
                <c:pt idx="206">
                  <c:v>-0.1</c:v>
                </c:pt>
                <c:pt idx="207">
                  <c:v>-0.1</c:v>
                </c:pt>
                <c:pt idx="208">
                  <c:v>-0.1</c:v>
                </c:pt>
                <c:pt idx="209">
                  <c:v>-0.1</c:v>
                </c:pt>
                <c:pt idx="210">
                  <c:v>-0.1</c:v>
                </c:pt>
                <c:pt idx="211">
                  <c:v>-0.1</c:v>
                </c:pt>
                <c:pt idx="212">
                  <c:v>-0.1</c:v>
                </c:pt>
                <c:pt idx="213">
                  <c:v>-0.1</c:v>
                </c:pt>
                <c:pt idx="214">
                  <c:v>-0.1</c:v>
                </c:pt>
                <c:pt idx="215">
                  <c:v>-0.1</c:v>
                </c:pt>
                <c:pt idx="216">
                  <c:v>-0.1</c:v>
                </c:pt>
                <c:pt idx="217">
                  <c:v>-0.1</c:v>
                </c:pt>
                <c:pt idx="218">
                  <c:v>-0.1</c:v>
                </c:pt>
                <c:pt idx="219">
                  <c:v>-0.1</c:v>
                </c:pt>
                <c:pt idx="220">
                  <c:v>-0.1</c:v>
                </c:pt>
                <c:pt idx="221">
                  <c:v>-0.1</c:v>
                </c:pt>
                <c:pt idx="222">
                  <c:v>-0.1</c:v>
                </c:pt>
                <c:pt idx="223">
                  <c:v>-0.1</c:v>
                </c:pt>
                <c:pt idx="224">
                  <c:v>-0.1</c:v>
                </c:pt>
                <c:pt idx="225">
                  <c:v>-0.1</c:v>
                </c:pt>
                <c:pt idx="226">
                  <c:v>-0.1</c:v>
                </c:pt>
                <c:pt idx="227">
                  <c:v>-0.1</c:v>
                </c:pt>
                <c:pt idx="228">
                  <c:v>-0.1</c:v>
                </c:pt>
                <c:pt idx="229">
                  <c:v>-0.1</c:v>
                </c:pt>
                <c:pt idx="230">
                  <c:v>-0.1</c:v>
                </c:pt>
                <c:pt idx="231">
                  <c:v>-0.1</c:v>
                </c:pt>
                <c:pt idx="232">
                  <c:v>-0.1</c:v>
                </c:pt>
                <c:pt idx="233">
                  <c:v>-0.1</c:v>
                </c:pt>
                <c:pt idx="234">
                  <c:v>-0.1</c:v>
                </c:pt>
                <c:pt idx="235">
                  <c:v>-0.1</c:v>
                </c:pt>
                <c:pt idx="236">
                  <c:v>-0.1</c:v>
                </c:pt>
                <c:pt idx="237">
                  <c:v>-0.1</c:v>
                </c:pt>
                <c:pt idx="238">
                  <c:v>-0.1</c:v>
                </c:pt>
                <c:pt idx="239">
                  <c:v>-0.1</c:v>
                </c:pt>
                <c:pt idx="240">
                  <c:v>-0.1</c:v>
                </c:pt>
                <c:pt idx="241">
                  <c:v>-0.1</c:v>
                </c:pt>
                <c:pt idx="242">
                  <c:v>-0.1</c:v>
                </c:pt>
                <c:pt idx="243">
                  <c:v>-0.1</c:v>
                </c:pt>
                <c:pt idx="244">
                  <c:v>-0.1</c:v>
                </c:pt>
                <c:pt idx="245">
                  <c:v>-0.1</c:v>
                </c:pt>
                <c:pt idx="246">
                  <c:v>-0.1</c:v>
                </c:pt>
                <c:pt idx="247">
                  <c:v>-0.1</c:v>
                </c:pt>
                <c:pt idx="248">
                  <c:v>-0.1</c:v>
                </c:pt>
                <c:pt idx="249">
                  <c:v>-0.1</c:v>
                </c:pt>
              </c:numCache>
            </c:numRef>
          </c:val>
          <c:smooth val="0"/>
          <c:extLst>
            <c:ext xmlns:c16="http://schemas.microsoft.com/office/drawing/2014/chart" uri="{C3380CC4-5D6E-409C-BE32-E72D297353CC}">
              <c16:uniqueId val="{00000000-6267-43BA-ABF5-79EB5823EF1F}"/>
            </c:ext>
          </c:extLst>
        </c:ser>
        <c:ser>
          <c:idx val="2"/>
          <c:order val="1"/>
          <c:tx>
            <c:v>BoE</c:v>
          </c:tx>
          <c:spPr>
            <a:ln>
              <a:solidFill>
                <a:srgbClr val="96BDC6"/>
              </a:solidFill>
            </a:ln>
          </c:spPr>
          <c:marker>
            <c:symbol val="none"/>
          </c:marker>
          <c:cat>
            <c:numRef>
              <c:f>dev_rates!$A$3:$A$253</c:f>
              <c:numCache>
                <c:formatCode>m/d/yyyy</c:formatCode>
                <c:ptCount val="251"/>
                <c:pt idx="0">
                  <c:v>37287</c:v>
                </c:pt>
                <c:pt idx="1">
                  <c:v>37315</c:v>
                </c:pt>
                <c:pt idx="2">
                  <c:v>37344</c:v>
                </c:pt>
                <c:pt idx="3">
                  <c:v>37376</c:v>
                </c:pt>
                <c:pt idx="4">
                  <c:v>37407</c:v>
                </c:pt>
                <c:pt idx="5">
                  <c:v>37435</c:v>
                </c:pt>
                <c:pt idx="6">
                  <c:v>37468</c:v>
                </c:pt>
                <c:pt idx="7">
                  <c:v>37498</c:v>
                </c:pt>
                <c:pt idx="8">
                  <c:v>37529</c:v>
                </c:pt>
                <c:pt idx="9">
                  <c:v>37560</c:v>
                </c:pt>
                <c:pt idx="10">
                  <c:v>37589</c:v>
                </c:pt>
                <c:pt idx="11">
                  <c:v>37621</c:v>
                </c:pt>
                <c:pt idx="12">
                  <c:v>37652</c:v>
                </c:pt>
                <c:pt idx="13">
                  <c:v>37680</c:v>
                </c:pt>
                <c:pt idx="14">
                  <c:v>37711</c:v>
                </c:pt>
                <c:pt idx="15">
                  <c:v>37741</c:v>
                </c:pt>
                <c:pt idx="16">
                  <c:v>37771</c:v>
                </c:pt>
                <c:pt idx="17">
                  <c:v>37802</c:v>
                </c:pt>
                <c:pt idx="18">
                  <c:v>37833</c:v>
                </c:pt>
                <c:pt idx="19">
                  <c:v>37862</c:v>
                </c:pt>
                <c:pt idx="20">
                  <c:v>37894</c:v>
                </c:pt>
                <c:pt idx="21">
                  <c:v>37925</c:v>
                </c:pt>
                <c:pt idx="22">
                  <c:v>37953</c:v>
                </c:pt>
                <c:pt idx="23">
                  <c:v>37986</c:v>
                </c:pt>
                <c:pt idx="24">
                  <c:v>38016</c:v>
                </c:pt>
                <c:pt idx="25">
                  <c:v>38044</c:v>
                </c:pt>
                <c:pt idx="26">
                  <c:v>38077</c:v>
                </c:pt>
                <c:pt idx="27">
                  <c:v>38107</c:v>
                </c:pt>
                <c:pt idx="28">
                  <c:v>38138</c:v>
                </c:pt>
                <c:pt idx="29">
                  <c:v>38168</c:v>
                </c:pt>
                <c:pt idx="30">
                  <c:v>38198</c:v>
                </c:pt>
                <c:pt idx="31">
                  <c:v>38230</c:v>
                </c:pt>
                <c:pt idx="32">
                  <c:v>38260</c:v>
                </c:pt>
                <c:pt idx="33">
                  <c:v>38289</c:v>
                </c:pt>
                <c:pt idx="34">
                  <c:v>38321</c:v>
                </c:pt>
                <c:pt idx="35">
                  <c:v>38352</c:v>
                </c:pt>
                <c:pt idx="36">
                  <c:v>38383</c:v>
                </c:pt>
                <c:pt idx="37">
                  <c:v>38411</c:v>
                </c:pt>
                <c:pt idx="38">
                  <c:v>38442</c:v>
                </c:pt>
                <c:pt idx="39">
                  <c:v>38471</c:v>
                </c:pt>
                <c:pt idx="40">
                  <c:v>38503</c:v>
                </c:pt>
                <c:pt idx="41">
                  <c:v>38533</c:v>
                </c:pt>
                <c:pt idx="42">
                  <c:v>38562</c:v>
                </c:pt>
                <c:pt idx="43">
                  <c:v>38595</c:v>
                </c:pt>
                <c:pt idx="44">
                  <c:v>38625</c:v>
                </c:pt>
                <c:pt idx="45">
                  <c:v>38656</c:v>
                </c:pt>
                <c:pt idx="46">
                  <c:v>38686</c:v>
                </c:pt>
                <c:pt idx="47">
                  <c:v>38716</c:v>
                </c:pt>
                <c:pt idx="48">
                  <c:v>38748</c:v>
                </c:pt>
                <c:pt idx="49">
                  <c:v>38776</c:v>
                </c:pt>
                <c:pt idx="50">
                  <c:v>38807</c:v>
                </c:pt>
                <c:pt idx="51">
                  <c:v>38835</c:v>
                </c:pt>
                <c:pt idx="52">
                  <c:v>38868</c:v>
                </c:pt>
                <c:pt idx="53">
                  <c:v>38898</c:v>
                </c:pt>
                <c:pt idx="54">
                  <c:v>38929</c:v>
                </c:pt>
                <c:pt idx="55">
                  <c:v>38960</c:v>
                </c:pt>
                <c:pt idx="56">
                  <c:v>38989</c:v>
                </c:pt>
                <c:pt idx="57">
                  <c:v>39021</c:v>
                </c:pt>
                <c:pt idx="58">
                  <c:v>39051</c:v>
                </c:pt>
                <c:pt idx="59">
                  <c:v>39080</c:v>
                </c:pt>
                <c:pt idx="60">
                  <c:v>39113</c:v>
                </c:pt>
                <c:pt idx="61">
                  <c:v>39141</c:v>
                </c:pt>
                <c:pt idx="62">
                  <c:v>39171</c:v>
                </c:pt>
                <c:pt idx="63">
                  <c:v>39202</c:v>
                </c:pt>
                <c:pt idx="64">
                  <c:v>39233</c:v>
                </c:pt>
                <c:pt idx="65">
                  <c:v>39262</c:v>
                </c:pt>
                <c:pt idx="66">
                  <c:v>39294</c:v>
                </c:pt>
                <c:pt idx="67">
                  <c:v>39325</c:v>
                </c:pt>
                <c:pt idx="68">
                  <c:v>39353</c:v>
                </c:pt>
                <c:pt idx="69">
                  <c:v>39386</c:v>
                </c:pt>
                <c:pt idx="70">
                  <c:v>39416</c:v>
                </c:pt>
                <c:pt idx="71">
                  <c:v>39447</c:v>
                </c:pt>
                <c:pt idx="72">
                  <c:v>39478</c:v>
                </c:pt>
                <c:pt idx="73">
                  <c:v>39507</c:v>
                </c:pt>
                <c:pt idx="74">
                  <c:v>39538</c:v>
                </c:pt>
                <c:pt idx="75">
                  <c:v>39568</c:v>
                </c:pt>
                <c:pt idx="76">
                  <c:v>39598</c:v>
                </c:pt>
                <c:pt idx="77">
                  <c:v>39629</c:v>
                </c:pt>
                <c:pt idx="78">
                  <c:v>39660</c:v>
                </c:pt>
                <c:pt idx="79">
                  <c:v>39689</c:v>
                </c:pt>
                <c:pt idx="80">
                  <c:v>39721</c:v>
                </c:pt>
                <c:pt idx="81">
                  <c:v>39752</c:v>
                </c:pt>
                <c:pt idx="82">
                  <c:v>39780</c:v>
                </c:pt>
                <c:pt idx="83">
                  <c:v>39813</c:v>
                </c:pt>
                <c:pt idx="84">
                  <c:v>39843</c:v>
                </c:pt>
                <c:pt idx="85">
                  <c:v>39871</c:v>
                </c:pt>
                <c:pt idx="86">
                  <c:v>39903</c:v>
                </c:pt>
                <c:pt idx="87">
                  <c:v>39933</c:v>
                </c:pt>
                <c:pt idx="88">
                  <c:v>39962</c:v>
                </c:pt>
                <c:pt idx="89">
                  <c:v>39994</c:v>
                </c:pt>
                <c:pt idx="90">
                  <c:v>40025</c:v>
                </c:pt>
                <c:pt idx="91">
                  <c:v>40056</c:v>
                </c:pt>
                <c:pt idx="92">
                  <c:v>40086</c:v>
                </c:pt>
                <c:pt idx="93">
                  <c:v>40116</c:v>
                </c:pt>
                <c:pt idx="94">
                  <c:v>40147</c:v>
                </c:pt>
                <c:pt idx="95">
                  <c:v>40178</c:v>
                </c:pt>
                <c:pt idx="96">
                  <c:v>40207</c:v>
                </c:pt>
                <c:pt idx="97">
                  <c:v>40235</c:v>
                </c:pt>
                <c:pt idx="98">
                  <c:v>40268</c:v>
                </c:pt>
                <c:pt idx="99">
                  <c:v>40298</c:v>
                </c:pt>
                <c:pt idx="100">
                  <c:v>40329</c:v>
                </c:pt>
                <c:pt idx="101">
                  <c:v>40359</c:v>
                </c:pt>
                <c:pt idx="102">
                  <c:v>40389</c:v>
                </c:pt>
                <c:pt idx="103">
                  <c:v>40421</c:v>
                </c:pt>
                <c:pt idx="104">
                  <c:v>40451</c:v>
                </c:pt>
                <c:pt idx="105">
                  <c:v>40480</c:v>
                </c:pt>
                <c:pt idx="106">
                  <c:v>40512</c:v>
                </c:pt>
                <c:pt idx="107">
                  <c:v>40543</c:v>
                </c:pt>
                <c:pt idx="108">
                  <c:v>40574</c:v>
                </c:pt>
                <c:pt idx="109">
                  <c:v>40602</c:v>
                </c:pt>
                <c:pt idx="110">
                  <c:v>40633</c:v>
                </c:pt>
                <c:pt idx="111">
                  <c:v>40662</c:v>
                </c:pt>
                <c:pt idx="112">
                  <c:v>40694</c:v>
                </c:pt>
                <c:pt idx="113">
                  <c:v>40724</c:v>
                </c:pt>
                <c:pt idx="114">
                  <c:v>40753</c:v>
                </c:pt>
                <c:pt idx="115">
                  <c:v>40786</c:v>
                </c:pt>
                <c:pt idx="116">
                  <c:v>40816</c:v>
                </c:pt>
                <c:pt idx="117">
                  <c:v>40847</c:v>
                </c:pt>
                <c:pt idx="118">
                  <c:v>40877</c:v>
                </c:pt>
                <c:pt idx="119">
                  <c:v>40907</c:v>
                </c:pt>
                <c:pt idx="120">
                  <c:v>40939</c:v>
                </c:pt>
                <c:pt idx="121">
                  <c:v>40968</c:v>
                </c:pt>
                <c:pt idx="122">
                  <c:v>40998</c:v>
                </c:pt>
                <c:pt idx="123">
                  <c:v>41029</c:v>
                </c:pt>
                <c:pt idx="124">
                  <c:v>41060</c:v>
                </c:pt>
                <c:pt idx="125">
                  <c:v>41089</c:v>
                </c:pt>
                <c:pt idx="126">
                  <c:v>41121</c:v>
                </c:pt>
                <c:pt idx="127">
                  <c:v>41152</c:v>
                </c:pt>
                <c:pt idx="128">
                  <c:v>41180</c:v>
                </c:pt>
                <c:pt idx="129">
                  <c:v>41213</c:v>
                </c:pt>
                <c:pt idx="130">
                  <c:v>41243</c:v>
                </c:pt>
                <c:pt idx="131">
                  <c:v>41274</c:v>
                </c:pt>
                <c:pt idx="132">
                  <c:v>41305</c:v>
                </c:pt>
                <c:pt idx="133">
                  <c:v>41333</c:v>
                </c:pt>
                <c:pt idx="134">
                  <c:v>41362</c:v>
                </c:pt>
                <c:pt idx="135">
                  <c:v>41394</c:v>
                </c:pt>
                <c:pt idx="136">
                  <c:v>41425</c:v>
                </c:pt>
                <c:pt idx="137">
                  <c:v>41453</c:v>
                </c:pt>
                <c:pt idx="138">
                  <c:v>41486</c:v>
                </c:pt>
                <c:pt idx="139">
                  <c:v>41516</c:v>
                </c:pt>
                <c:pt idx="140">
                  <c:v>41547</c:v>
                </c:pt>
                <c:pt idx="141">
                  <c:v>41578</c:v>
                </c:pt>
                <c:pt idx="142">
                  <c:v>41607</c:v>
                </c:pt>
                <c:pt idx="143">
                  <c:v>41639</c:v>
                </c:pt>
                <c:pt idx="144">
                  <c:v>41670</c:v>
                </c:pt>
                <c:pt idx="145">
                  <c:v>41698</c:v>
                </c:pt>
                <c:pt idx="146">
                  <c:v>41729</c:v>
                </c:pt>
                <c:pt idx="147">
                  <c:v>41759</c:v>
                </c:pt>
                <c:pt idx="148">
                  <c:v>41789</c:v>
                </c:pt>
                <c:pt idx="149">
                  <c:v>41820</c:v>
                </c:pt>
                <c:pt idx="150">
                  <c:v>41851</c:v>
                </c:pt>
                <c:pt idx="151">
                  <c:v>41880</c:v>
                </c:pt>
                <c:pt idx="152">
                  <c:v>41912</c:v>
                </c:pt>
                <c:pt idx="153">
                  <c:v>41943</c:v>
                </c:pt>
                <c:pt idx="154">
                  <c:v>41971</c:v>
                </c:pt>
                <c:pt idx="155">
                  <c:v>42004</c:v>
                </c:pt>
                <c:pt idx="156">
                  <c:v>42034</c:v>
                </c:pt>
                <c:pt idx="157">
                  <c:v>42062</c:v>
                </c:pt>
                <c:pt idx="158">
                  <c:v>42094</c:v>
                </c:pt>
                <c:pt idx="159">
                  <c:v>42124</c:v>
                </c:pt>
                <c:pt idx="160">
                  <c:v>42153</c:v>
                </c:pt>
                <c:pt idx="161">
                  <c:v>42185</c:v>
                </c:pt>
                <c:pt idx="162">
                  <c:v>42216</c:v>
                </c:pt>
                <c:pt idx="163">
                  <c:v>42247</c:v>
                </c:pt>
                <c:pt idx="164">
                  <c:v>42277</c:v>
                </c:pt>
                <c:pt idx="165">
                  <c:v>42307</c:v>
                </c:pt>
                <c:pt idx="166">
                  <c:v>42338</c:v>
                </c:pt>
                <c:pt idx="167">
                  <c:v>42369</c:v>
                </c:pt>
                <c:pt idx="168">
                  <c:v>42398</c:v>
                </c:pt>
                <c:pt idx="169">
                  <c:v>42429</c:v>
                </c:pt>
                <c:pt idx="170">
                  <c:v>42460</c:v>
                </c:pt>
                <c:pt idx="171">
                  <c:v>42489</c:v>
                </c:pt>
                <c:pt idx="172">
                  <c:v>42521</c:v>
                </c:pt>
                <c:pt idx="173">
                  <c:v>42551</c:v>
                </c:pt>
                <c:pt idx="174">
                  <c:v>42580</c:v>
                </c:pt>
                <c:pt idx="175">
                  <c:v>42613</c:v>
                </c:pt>
                <c:pt idx="176">
                  <c:v>42643</c:v>
                </c:pt>
                <c:pt idx="177">
                  <c:v>42674</c:v>
                </c:pt>
                <c:pt idx="178">
                  <c:v>42704</c:v>
                </c:pt>
                <c:pt idx="179">
                  <c:v>42734</c:v>
                </c:pt>
                <c:pt idx="180">
                  <c:v>42766</c:v>
                </c:pt>
                <c:pt idx="181">
                  <c:v>42794</c:v>
                </c:pt>
                <c:pt idx="182">
                  <c:v>42825</c:v>
                </c:pt>
                <c:pt idx="183">
                  <c:v>42853</c:v>
                </c:pt>
                <c:pt idx="184">
                  <c:v>42886</c:v>
                </c:pt>
                <c:pt idx="185">
                  <c:v>42916</c:v>
                </c:pt>
                <c:pt idx="186">
                  <c:v>42947</c:v>
                </c:pt>
                <c:pt idx="187">
                  <c:v>42978</c:v>
                </c:pt>
                <c:pt idx="188">
                  <c:v>43007</c:v>
                </c:pt>
                <c:pt idx="189">
                  <c:v>43039</c:v>
                </c:pt>
                <c:pt idx="190">
                  <c:v>43069</c:v>
                </c:pt>
                <c:pt idx="191">
                  <c:v>43098</c:v>
                </c:pt>
                <c:pt idx="192">
                  <c:v>43131</c:v>
                </c:pt>
                <c:pt idx="193">
                  <c:v>43159</c:v>
                </c:pt>
                <c:pt idx="194">
                  <c:v>43189</c:v>
                </c:pt>
                <c:pt idx="195">
                  <c:v>43220</c:v>
                </c:pt>
                <c:pt idx="196">
                  <c:v>43251</c:v>
                </c:pt>
                <c:pt idx="197">
                  <c:v>43280</c:v>
                </c:pt>
                <c:pt idx="198">
                  <c:v>43312</c:v>
                </c:pt>
                <c:pt idx="199">
                  <c:v>43343</c:v>
                </c:pt>
                <c:pt idx="200">
                  <c:v>43371</c:v>
                </c:pt>
                <c:pt idx="201">
                  <c:v>43404</c:v>
                </c:pt>
                <c:pt idx="202">
                  <c:v>43434</c:v>
                </c:pt>
                <c:pt idx="203">
                  <c:v>43465</c:v>
                </c:pt>
                <c:pt idx="204">
                  <c:v>43496</c:v>
                </c:pt>
                <c:pt idx="205">
                  <c:v>43524</c:v>
                </c:pt>
                <c:pt idx="206">
                  <c:v>43553</c:v>
                </c:pt>
                <c:pt idx="207">
                  <c:v>43585</c:v>
                </c:pt>
                <c:pt idx="208">
                  <c:v>43616</c:v>
                </c:pt>
                <c:pt idx="209">
                  <c:v>43644</c:v>
                </c:pt>
                <c:pt idx="210">
                  <c:v>43677</c:v>
                </c:pt>
                <c:pt idx="211">
                  <c:v>43707</c:v>
                </c:pt>
                <c:pt idx="212">
                  <c:v>43738</c:v>
                </c:pt>
                <c:pt idx="213">
                  <c:v>43769</c:v>
                </c:pt>
                <c:pt idx="214">
                  <c:v>43798</c:v>
                </c:pt>
                <c:pt idx="215">
                  <c:v>43830</c:v>
                </c:pt>
                <c:pt idx="216">
                  <c:v>43861</c:v>
                </c:pt>
                <c:pt idx="217">
                  <c:v>43889</c:v>
                </c:pt>
                <c:pt idx="218">
                  <c:v>43921</c:v>
                </c:pt>
                <c:pt idx="219">
                  <c:v>43951</c:v>
                </c:pt>
                <c:pt idx="220">
                  <c:v>43980</c:v>
                </c:pt>
                <c:pt idx="221">
                  <c:v>44012</c:v>
                </c:pt>
                <c:pt idx="222">
                  <c:v>44043</c:v>
                </c:pt>
                <c:pt idx="223">
                  <c:v>44074</c:v>
                </c:pt>
                <c:pt idx="224">
                  <c:v>44104</c:v>
                </c:pt>
                <c:pt idx="225">
                  <c:v>44134</c:v>
                </c:pt>
                <c:pt idx="226">
                  <c:v>44165</c:v>
                </c:pt>
                <c:pt idx="227">
                  <c:v>44196</c:v>
                </c:pt>
                <c:pt idx="228">
                  <c:v>44225</c:v>
                </c:pt>
                <c:pt idx="229">
                  <c:v>44253</c:v>
                </c:pt>
                <c:pt idx="230">
                  <c:v>44286</c:v>
                </c:pt>
                <c:pt idx="231">
                  <c:v>44316</c:v>
                </c:pt>
                <c:pt idx="232">
                  <c:v>44347</c:v>
                </c:pt>
                <c:pt idx="233">
                  <c:v>44377</c:v>
                </c:pt>
                <c:pt idx="234">
                  <c:v>44407</c:v>
                </c:pt>
                <c:pt idx="235">
                  <c:v>44439</c:v>
                </c:pt>
                <c:pt idx="236">
                  <c:v>44469</c:v>
                </c:pt>
                <c:pt idx="237">
                  <c:v>44498</c:v>
                </c:pt>
                <c:pt idx="238">
                  <c:v>44530</c:v>
                </c:pt>
                <c:pt idx="239">
                  <c:v>44561</c:v>
                </c:pt>
                <c:pt idx="240">
                  <c:v>44592</c:v>
                </c:pt>
                <c:pt idx="241">
                  <c:v>44620</c:v>
                </c:pt>
                <c:pt idx="242">
                  <c:v>44651</c:v>
                </c:pt>
                <c:pt idx="243">
                  <c:v>44681</c:v>
                </c:pt>
                <c:pt idx="244">
                  <c:v>44712</c:v>
                </c:pt>
                <c:pt idx="245">
                  <c:v>44742</c:v>
                </c:pt>
                <c:pt idx="246">
                  <c:v>44773</c:v>
                </c:pt>
                <c:pt idx="247">
                  <c:v>44804</c:v>
                </c:pt>
                <c:pt idx="248">
                  <c:v>44834</c:v>
                </c:pt>
                <c:pt idx="249">
                  <c:v>44865</c:v>
                </c:pt>
                <c:pt idx="250">
                  <c:v>44895</c:v>
                </c:pt>
              </c:numCache>
            </c:numRef>
          </c:cat>
          <c:val>
            <c:numRef>
              <c:f>dev_rates!$C$3:$C$253</c:f>
              <c:numCache>
                <c:formatCode>General</c:formatCode>
                <c:ptCount val="251"/>
                <c:pt idx="0">
                  <c:v>4</c:v>
                </c:pt>
                <c:pt idx="1">
                  <c:v>4</c:v>
                </c:pt>
                <c:pt idx="2">
                  <c:v>4</c:v>
                </c:pt>
                <c:pt idx="3">
                  <c:v>4</c:v>
                </c:pt>
                <c:pt idx="4">
                  <c:v>4</c:v>
                </c:pt>
                <c:pt idx="5">
                  <c:v>4</c:v>
                </c:pt>
                <c:pt idx="6">
                  <c:v>4</c:v>
                </c:pt>
                <c:pt idx="7">
                  <c:v>4</c:v>
                </c:pt>
                <c:pt idx="8">
                  <c:v>4</c:v>
                </c:pt>
                <c:pt idx="9">
                  <c:v>4</c:v>
                </c:pt>
                <c:pt idx="10">
                  <c:v>4</c:v>
                </c:pt>
                <c:pt idx="11">
                  <c:v>4</c:v>
                </c:pt>
                <c:pt idx="12">
                  <c:v>4</c:v>
                </c:pt>
                <c:pt idx="13">
                  <c:v>3.75</c:v>
                </c:pt>
                <c:pt idx="14">
                  <c:v>3.75</c:v>
                </c:pt>
                <c:pt idx="15">
                  <c:v>3.75</c:v>
                </c:pt>
                <c:pt idx="16">
                  <c:v>3.75</c:v>
                </c:pt>
                <c:pt idx="17">
                  <c:v>3.75</c:v>
                </c:pt>
                <c:pt idx="18">
                  <c:v>3.5</c:v>
                </c:pt>
                <c:pt idx="19">
                  <c:v>3.5</c:v>
                </c:pt>
                <c:pt idx="20">
                  <c:v>3.5</c:v>
                </c:pt>
                <c:pt idx="21">
                  <c:v>3.5</c:v>
                </c:pt>
                <c:pt idx="22">
                  <c:v>3.75</c:v>
                </c:pt>
                <c:pt idx="23">
                  <c:v>3.75</c:v>
                </c:pt>
                <c:pt idx="24">
                  <c:v>3.75</c:v>
                </c:pt>
                <c:pt idx="25">
                  <c:v>4</c:v>
                </c:pt>
                <c:pt idx="26">
                  <c:v>4</c:v>
                </c:pt>
                <c:pt idx="27">
                  <c:v>4</c:v>
                </c:pt>
                <c:pt idx="28">
                  <c:v>4.25</c:v>
                </c:pt>
                <c:pt idx="29">
                  <c:v>4.5</c:v>
                </c:pt>
                <c:pt idx="30">
                  <c:v>4.5</c:v>
                </c:pt>
                <c:pt idx="31">
                  <c:v>4.75</c:v>
                </c:pt>
                <c:pt idx="32">
                  <c:v>4.75</c:v>
                </c:pt>
                <c:pt idx="33">
                  <c:v>4.75</c:v>
                </c:pt>
                <c:pt idx="34">
                  <c:v>4.75</c:v>
                </c:pt>
                <c:pt idx="35">
                  <c:v>4.75</c:v>
                </c:pt>
                <c:pt idx="36">
                  <c:v>4.75</c:v>
                </c:pt>
                <c:pt idx="37">
                  <c:v>4.75</c:v>
                </c:pt>
                <c:pt idx="38">
                  <c:v>4.75</c:v>
                </c:pt>
                <c:pt idx="39">
                  <c:v>4.75</c:v>
                </c:pt>
                <c:pt idx="40">
                  <c:v>4.75</c:v>
                </c:pt>
                <c:pt idx="41">
                  <c:v>4.75</c:v>
                </c:pt>
                <c:pt idx="42">
                  <c:v>4.75</c:v>
                </c:pt>
                <c:pt idx="43">
                  <c:v>4.5</c:v>
                </c:pt>
                <c:pt idx="44">
                  <c:v>4.5</c:v>
                </c:pt>
                <c:pt idx="45">
                  <c:v>4.5</c:v>
                </c:pt>
                <c:pt idx="46">
                  <c:v>4.5</c:v>
                </c:pt>
                <c:pt idx="47">
                  <c:v>4.5</c:v>
                </c:pt>
                <c:pt idx="48">
                  <c:v>4.5</c:v>
                </c:pt>
                <c:pt idx="49">
                  <c:v>4.5</c:v>
                </c:pt>
                <c:pt idx="50">
                  <c:v>4.5</c:v>
                </c:pt>
                <c:pt idx="51">
                  <c:v>4.5</c:v>
                </c:pt>
                <c:pt idx="52">
                  <c:v>4.5</c:v>
                </c:pt>
                <c:pt idx="53">
                  <c:v>4.5</c:v>
                </c:pt>
                <c:pt idx="54">
                  <c:v>4.5</c:v>
                </c:pt>
                <c:pt idx="55">
                  <c:v>4.75</c:v>
                </c:pt>
                <c:pt idx="56">
                  <c:v>4.75</c:v>
                </c:pt>
                <c:pt idx="57">
                  <c:v>4.75</c:v>
                </c:pt>
                <c:pt idx="58">
                  <c:v>5</c:v>
                </c:pt>
                <c:pt idx="59">
                  <c:v>5</c:v>
                </c:pt>
                <c:pt idx="60">
                  <c:v>5.25</c:v>
                </c:pt>
                <c:pt idx="61">
                  <c:v>5.25</c:v>
                </c:pt>
                <c:pt idx="62">
                  <c:v>5.25</c:v>
                </c:pt>
                <c:pt idx="63">
                  <c:v>5.25</c:v>
                </c:pt>
                <c:pt idx="64">
                  <c:v>5.5</c:v>
                </c:pt>
                <c:pt idx="65">
                  <c:v>5.5</c:v>
                </c:pt>
                <c:pt idx="66">
                  <c:v>5.75</c:v>
                </c:pt>
                <c:pt idx="67">
                  <c:v>5.75</c:v>
                </c:pt>
                <c:pt idx="68">
                  <c:v>5.75</c:v>
                </c:pt>
                <c:pt idx="69">
                  <c:v>5.75</c:v>
                </c:pt>
                <c:pt idx="70">
                  <c:v>5.75</c:v>
                </c:pt>
                <c:pt idx="71">
                  <c:v>5.5</c:v>
                </c:pt>
                <c:pt idx="72">
                  <c:v>5.5</c:v>
                </c:pt>
                <c:pt idx="73">
                  <c:v>5.25</c:v>
                </c:pt>
                <c:pt idx="74">
                  <c:v>5.25</c:v>
                </c:pt>
                <c:pt idx="75">
                  <c:v>5</c:v>
                </c:pt>
                <c:pt idx="76">
                  <c:v>5</c:v>
                </c:pt>
                <c:pt idx="77">
                  <c:v>5</c:v>
                </c:pt>
                <c:pt idx="78">
                  <c:v>5</c:v>
                </c:pt>
                <c:pt idx="79">
                  <c:v>5</c:v>
                </c:pt>
                <c:pt idx="80">
                  <c:v>5</c:v>
                </c:pt>
                <c:pt idx="81">
                  <c:v>4.5</c:v>
                </c:pt>
                <c:pt idx="82">
                  <c:v>3</c:v>
                </c:pt>
                <c:pt idx="83">
                  <c:v>2</c:v>
                </c:pt>
                <c:pt idx="84">
                  <c:v>1.5</c:v>
                </c:pt>
                <c:pt idx="85">
                  <c:v>1</c:v>
                </c:pt>
                <c:pt idx="86">
                  <c:v>0.5</c:v>
                </c:pt>
                <c:pt idx="87">
                  <c:v>0.5</c:v>
                </c:pt>
                <c:pt idx="88">
                  <c:v>0.5</c:v>
                </c:pt>
                <c:pt idx="89">
                  <c:v>0.5</c:v>
                </c:pt>
                <c:pt idx="90">
                  <c:v>0.5</c:v>
                </c:pt>
                <c:pt idx="91">
                  <c:v>0.5</c:v>
                </c:pt>
                <c:pt idx="92">
                  <c:v>0.5</c:v>
                </c:pt>
                <c:pt idx="93">
                  <c:v>0.5</c:v>
                </c:pt>
                <c:pt idx="94">
                  <c:v>0.5</c:v>
                </c:pt>
                <c:pt idx="95">
                  <c:v>0.5</c:v>
                </c:pt>
                <c:pt idx="96">
                  <c:v>0.5</c:v>
                </c:pt>
                <c:pt idx="97">
                  <c:v>0.5</c:v>
                </c:pt>
                <c:pt idx="98">
                  <c:v>0.5</c:v>
                </c:pt>
                <c:pt idx="99">
                  <c:v>0.5</c:v>
                </c:pt>
                <c:pt idx="100">
                  <c:v>0.5</c:v>
                </c:pt>
                <c:pt idx="101">
                  <c:v>0.5</c:v>
                </c:pt>
                <c:pt idx="102">
                  <c:v>0.5</c:v>
                </c:pt>
                <c:pt idx="103">
                  <c:v>0.5</c:v>
                </c:pt>
                <c:pt idx="104">
                  <c:v>0.5</c:v>
                </c:pt>
                <c:pt idx="105">
                  <c:v>0.5</c:v>
                </c:pt>
                <c:pt idx="106">
                  <c:v>0.5</c:v>
                </c:pt>
                <c:pt idx="107">
                  <c:v>0.5</c:v>
                </c:pt>
                <c:pt idx="108">
                  <c:v>0.5</c:v>
                </c:pt>
                <c:pt idx="109">
                  <c:v>0.5</c:v>
                </c:pt>
                <c:pt idx="110">
                  <c:v>0.5</c:v>
                </c:pt>
                <c:pt idx="111">
                  <c:v>0.5</c:v>
                </c:pt>
                <c:pt idx="112">
                  <c:v>0.5</c:v>
                </c:pt>
                <c:pt idx="113">
                  <c:v>0.5</c:v>
                </c:pt>
                <c:pt idx="114">
                  <c:v>0.5</c:v>
                </c:pt>
                <c:pt idx="115">
                  <c:v>0.5</c:v>
                </c:pt>
                <c:pt idx="116">
                  <c:v>0.5</c:v>
                </c:pt>
                <c:pt idx="117">
                  <c:v>0.5</c:v>
                </c:pt>
                <c:pt idx="118">
                  <c:v>0.5</c:v>
                </c:pt>
                <c:pt idx="119">
                  <c:v>0.5</c:v>
                </c:pt>
                <c:pt idx="120">
                  <c:v>0.5</c:v>
                </c:pt>
                <c:pt idx="121">
                  <c:v>0.5</c:v>
                </c:pt>
                <c:pt idx="122">
                  <c:v>0.5</c:v>
                </c:pt>
                <c:pt idx="123">
                  <c:v>0.5</c:v>
                </c:pt>
                <c:pt idx="124">
                  <c:v>0.5</c:v>
                </c:pt>
                <c:pt idx="125">
                  <c:v>0.5</c:v>
                </c:pt>
                <c:pt idx="126">
                  <c:v>0.5</c:v>
                </c:pt>
                <c:pt idx="127">
                  <c:v>0.5</c:v>
                </c:pt>
                <c:pt idx="128">
                  <c:v>0.5</c:v>
                </c:pt>
                <c:pt idx="129">
                  <c:v>0.5</c:v>
                </c:pt>
                <c:pt idx="130">
                  <c:v>0.5</c:v>
                </c:pt>
                <c:pt idx="131">
                  <c:v>0.5</c:v>
                </c:pt>
                <c:pt idx="132">
                  <c:v>0.5</c:v>
                </c:pt>
                <c:pt idx="133">
                  <c:v>0.5</c:v>
                </c:pt>
                <c:pt idx="134">
                  <c:v>0.5</c:v>
                </c:pt>
                <c:pt idx="135">
                  <c:v>0.5</c:v>
                </c:pt>
                <c:pt idx="136">
                  <c:v>0.5</c:v>
                </c:pt>
                <c:pt idx="137">
                  <c:v>0.5</c:v>
                </c:pt>
                <c:pt idx="138">
                  <c:v>0.5</c:v>
                </c:pt>
                <c:pt idx="139">
                  <c:v>0.5</c:v>
                </c:pt>
                <c:pt idx="140">
                  <c:v>0.5</c:v>
                </c:pt>
                <c:pt idx="141">
                  <c:v>0.5</c:v>
                </c:pt>
                <c:pt idx="142">
                  <c:v>0.5</c:v>
                </c:pt>
                <c:pt idx="143">
                  <c:v>0.5</c:v>
                </c:pt>
                <c:pt idx="144">
                  <c:v>0.5</c:v>
                </c:pt>
                <c:pt idx="145">
                  <c:v>0.5</c:v>
                </c:pt>
                <c:pt idx="146">
                  <c:v>0.5</c:v>
                </c:pt>
                <c:pt idx="147">
                  <c:v>0.5</c:v>
                </c:pt>
                <c:pt idx="148">
                  <c:v>0.5</c:v>
                </c:pt>
                <c:pt idx="149">
                  <c:v>0.5</c:v>
                </c:pt>
                <c:pt idx="150">
                  <c:v>0.5</c:v>
                </c:pt>
                <c:pt idx="151">
                  <c:v>0.5</c:v>
                </c:pt>
                <c:pt idx="152">
                  <c:v>0.5</c:v>
                </c:pt>
                <c:pt idx="153">
                  <c:v>0.5</c:v>
                </c:pt>
                <c:pt idx="154">
                  <c:v>0.5</c:v>
                </c:pt>
                <c:pt idx="155">
                  <c:v>0.5</c:v>
                </c:pt>
                <c:pt idx="156">
                  <c:v>0.5</c:v>
                </c:pt>
                <c:pt idx="157">
                  <c:v>0.5</c:v>
                </c:pt>
                <c:pt idx="158">
                  <c:v>0.5</c:v>
                </c:pt>
                <c:pt idx="159">
                  <c:v>0.5</c:v>
                </c:pt>
                <c:pt idx="160">
                  <c:v>0.5</c:v>
                </c:pt>
                <c:pt idx="161">
                  <c:v>0.5</c:v>
                </c:pt>
                <c:pt idx="162">
                  <c:v>0.5</c:v>
                </c:pt>
                <c:pt idx="163">
                  <c:v>0.5</c:v>
                </c:pt>
                <c:pt idx="164">
                  <c:v>0.5</c:v>
                </c:pt>
                <c:pt idx="165">
                  <c:v>0.5</c:v>
                </c:pt>
                <c:pt idx="166">
                  <c:v>0.5</c:v>
                </c:pt>
                <c:pt idx="167">
                  <c:v>0.5</c:v>
                </c:pt>
                <c:pt idx="168">
                  <c:v>0.5</c:v>
                </c:pt>
                <c:pt idx="169">
                  <c:v>0.5</c:v>
                </c:pt>
                <c:pt idx="170">
                  <c:v>0.5</c:v>
                </c:pt>
                <c:pt idx="171">
                  <c:v>0.5</c:v>
                </c:pt>
                <c:pt idx="172">
                  <c:v>0.5</c:v>
                </c:pt>
                <c:pt idx="173">
                  <c:v>0.5</c:v>
                </c:pt>
                <c:pt idx="174">
                  <c:v>0.5</c:v>
                </c:pt>
                <c:pt idx="175">
                  <c:v>0.25</c:v>
                </c:pt>
                <c:pt idx="176">
                  <c:v>0.25</c:v>
                </c:pt>
                <c:pt idx="177">
                  <c:v>0.25</c:v>
                </c:pt>
                <c:pt idx="178">
                  <c:v>0.25</c:v>
                </c:pt>
                <c:pt idx="179">
                  <c:v>0.25</c:v>
                </c:pt>
                <c:pt idx="180">
                  <c:v>0.25</c:v>
                </c:pt>
                <c:pt idx="181">
                  <c:v>0.25</c:v>
                </c:pt>
                <c:pt idx="182">
                  <c:v>0.25</c:v>
                </c:pt>
                <c:pt idx="183">
                  <c:v>0.25</c:v>
                </c:pt>
                <c:pt idx="184">
                  <c:v>0.25</c:v>
                </c:pt>
                <c:pt idx="185">
                  <c:v>0.25</c:v>
                </c:pt>
                <c:pt idx="186">
                  <c:v>0.25</c:v>
                </c:pt>
                <c:pt idx="187">
                  <c:v>0.25</c:v>
                </c:pt>
                <c:pt idx="188">
                  <c:v>0.25</c:v>
                </c:pt>
                <c:pt idx="189">
                  <c:v>0.25</c:v>
                </c:pt>
                <c:pt idx="190">
                  <c:v>0.5</c:v>
                </c:pt>
                <c:pt idx="191">
                  <c:v>0.5</c:v>
                </c:pt>
                <c:pt idx="192">
                  <c:v>0.5</c:v>
                </c:pt>
                <c:pt idx="193">
                  <c:v>0.5</c:v>
                </c:pt>
                <c:pt idx="194">
                  <c:v>0.5</c:v>
                </c:pt>
                <c:pt idx="195">
                  <c:v>0.5</c:v>
                </c:pt>
                <c:pt idx="196">
                  <c:v>0.5</c:v>
                </c:pt>
                <c:pt idx="197">
                  <c:v>0.5</c:v>
                </c:pt>
                <c:pt idx="198">
                  <c:v>0.5</c:v>
                </c:pt>
                <c:pt idx="199">
                  <c:v>0.75</c:v>
                </c:pt>
                <c:pt idx="200">
                  <c:v>0.75</c:v>
                </c:pt>
                <c:pt idx="201">
                  <c:v>0.75</c:v>
                </c:pt>
                <c:pt idx="202">
                  <c:v>0.75</c:v>
                </c:pt>
                <c:pt idx="203">
                  <c:v>0.75</c:v>
                </c:pt>
                <c:pt idx="204">
                  <c:v>0.75</c:v>
                </c:pt>
                <c:pt idx="205">
                  <c:v>0.75</c:v>
                </c:pt>
                <c:pt idx="206">
                  <c:v>0.75</c:v>
                </c:pt>
                <c:pt idx="207">
                  <c:v>0.75</c:v>
                </c:pt>
                <c:pt idx="208">
                  <c:v>0.75</c:v>
                </c:pt>
                <c:pt idx="209">
                  <c:v>0.75</c:v>
                </c:pt>
                <c:pt idx="210">
                  <c:v>0.75</c:v>
                </c:pt>
                <c:pt idx="211">
                  <c:v>0.75</c:v>
                </c:pt>
                <c:pt idx="212">
                  <c:v>0.75</c:v>
                </c:pt>
                <c:pt idx="213">
                  <c:v>0.75</c:v>
                </c:pt>
                <c:pt idx="214">
                  <c:v>0.75</c:v>
                </c:pt>
                <c:pt idx="215">
                  <c:v>0.75</c:v>
                </c:pt>
                <c:pt idx="216">
                  <c:v>0.75</c:v>
                </c:pt>
                <c:pt idx="217">
                  <c:v>0.75</c:v>
                </c:pt>
                <c:pt idx="218">
                  <c:v>0.1</c:v>
                </c:pt>
                <c:pt idx="219">
                  <c:v>0.1</c:v>
                </c:pt>
                <c:pt idx="220">
                  <c:v>0.1</c:v>
                </c:pt>
                <c:pt idx="221">
                  <c:v>0.1</c:v>
                </c:pt>
                <c:pt idx="222">
                  <c:v>0.1</c:v>
                </c:pt>
                <c:pt idx="223">
                  <c:v>0.1</c:v>
                </c:pt>
                <c:pt idx="224">
                  <c:v>0.1</c:v>
                </c:pt>
                <c:pt idx="225">
                  <c:v>0.1</c:v>
                </c:pt>
                <c:pt idx="226">
                  <c:v>0.1</c:v>
                </c:pt>
                <c:pt idx="227">
                  <c:v>0.1</c:v>
                </c:pt>
                <c:pt idx="228">
                  <c:v>0.1</c:v>
                </c:pt>
                <c:pt idx="229">
                  <c:v>0.1</c:v>
                </c:pt>
                <c:pt idx="230">
                  <c:v>0.1</c:v>
                </c:pt>
                <c:pt idx="231">
                  <c:v>0.1</c:v>
                </c:pt>
                <c:pt idx="232">
                  <c:v>0.1</c:v>
                </c:pt>
                <c:pt idx="233">
                  <c:v>0.1</c:v>
                </c:pt>
                <c:pt idx="234">
                  <c:v>0.1</c:v>
                </c:pt>
                <c:pt idx="235">
                  <c:v>0.1</c:v>
                </c:pt>
                <c:pt idx="236">
                  <c:v>0.1</c:v>
                </c:pt>
                <c:pt idx="237">
                  <c:v>0.1</c:v>
                </c:pt>
                <c:pt idx="238">
                  <c:v>0.1</c:v>
                </c:pt>
                <c:pt idx="239">
                  <c:v>0.25</c:v>
                </c:pt>
                <c:pt idx="240">
                  <c:v>0.25</c:v>
                </c:pt>
                <c:pt idx="241">
                  <c:v>0.5</c:v>
                </c:pt>
                <c:pt idx="242">
                  <c:v>0.5</c:v>
                </c:pt>
                <c:pt idx="243">
                  <c:v>0.75</c:v>
                </c:pt>
                <c:pt idx="244">
                  <c:v>1</c:v>
                </c:pt>
                <c:pt idx="245">
                  <c:v>1.25</c:v>
                </c:pt>
                <c:pt idx="246">
                  <c:v>1.5</c:v>
                </c:pt>
                <c:pt idx="247">
                  <c:v>1.75</c:v>
                </c:pt>
                <c:pt idx="248">
                  <c:v>1.75</c:v>
                </c:pt>
                <c:pt idx="249">
                  <c:v>2.25</c:v>
                </c:pt>
                <c:pt idx="250">
                  <c:v>3</c:v>
                </c:pt>
              </c:numCache>
            </c:numRef>
          </c:val>
          <c:smooth val="0"/>
          <c:extLst>
            <c:ext xmlns:c16="http://schemas.microsoft.com/office/drawing/2014/chart" uri="{C3380CC4-5D6E-409C-BE32-E72D297353CC}">
              <c16:uniqueId val="{00000001-6267-43BA-ABF5-79EB5823EF1F}"/>
            </c:ext>
          </c:extLst>
        </c:ser>
        <c:ser>
          <c:idx val="0"/>
          <c:order val="2"/>
          <c:tx>
            <c:v>Fed</c:v>
          </c:tx>
          <c:spPr>
            <a:ln>
              <a:solidFill>
                <a:srgbClr val="C00000"/>
              </a:solidFill>
            </a:ln>
          </c:spPr>
          <c:marker>
            <c:symbol val="none"/>
          </c:marker>
          <c:cat>
            <c:numRef>
              <c:f>dev_rates!$A$3:$A$253</c:f>
              <c:numCache>
                <c:formatCode>m/d/yyyy</c:formatCode>
                <c:ptCount val="251"/>
                <c:pt idx="0">
                  <c:v>37287</c:v>
                </c:pt>
                <c:pt idx="1">
                  <c:v>37315</c:v>
                </c:pt>
                <c:pt idx="2">
                  <c:v>37344</c:v>
                </c:pt>
                <c:pt idx="3">
                  <c:v>37376</c:v>
                </c:pt>
                <c:pt idx="4">
                  <c:v>37407</c:v>
                </c:pt>
                <c:pt idx="5">
                  <c:v>37435</c:v>
                </c:pt>
                <c:pt idx="6">
                  <c:v>37468</c:v>
                </c:pt>
                <c:pt idx="7">
                  <c:v>37498</c:v>
                </c:pt>
                <c:pt idx="8">
                  <c:v>37529</c:v>
                </c:pt>
                <c:pt idx="9">
                  <c:v>37560</c:v>
                </c:pt>
                <c:pt idx="10">
                  <c:v>37589</c:v>
                </c:pt>
                <c:pt idx="11">
                  <c:v>37621</c:v>
                </c:pt>
                <c:pt idx="12">
                  <c:v>37652</c:v>
                </c:pt>
                <c:pt idx="13">
                  <c:v>37680</c:v>
                </c:pt>
                <c:pt idx="14">
                  <c:v>37711</c:v>
                </c:pt>
                <c:pt idx="15">
                  <c:v>37741</c:v>
                </c:pt>
                <c:pt idx="16">
                  <c:v>37771</c:v>
                </c:pt>
                <c:pt idx="17">
                  <c:v>37802</c:v>
                </c:pt>
                <c:pt idx="18">
                  <c:v>37833</c:v>
                </c:pt>
                <c:pt idx="19">
                  <c:v>37862</c:v>
                </c:pt>
                <c:pt idx="20">
                  <c:v>37894</c:v>
                </c:pt>
                <c:pt idx="21">
                  <c:v>37925</c:v>
                </c:pt>
                <c:pt idx="22">
                  <c:v>37953</c:v>
                </c:pt>
                <c:pt idx="23">
                  <c:v>37986</c:v>
                </c:pt>
                <c:pt idx="24">
                  <c:v>38016</c:v>
                </c:pt>
                <c:pt idx="25">
                  <c:v>38044</c:v>
                </c:pt>
                <c:pt idx="26">
                  <c:v>38077</c:v>
                </c:pt>
                <c:pt idx="27">
                  <c:v>38107</c:v>
                </c:pt>
                <c:pt idx="28">
                  <c:v>38138</c:v>
                </c:pt>
                <c:pt idx="29">
                  <c:v>38168</c:v>
                </c:pt>
                <c:pt idx="30">
                  <c:v>38198</c:v>
                </c:pt>
                <c:pt idx="31">
                  <c:v>38230</c:v>
                </c:pt>
                <c:pt idx="32">
                  <c:v>38260</c:v>
                </c:pt>
                <c:pt idx="33">
                  <c:v>38289</c:v>
                </c:pt>
                <c:pt idx="34">
                  <c:v>38321</c:v>
                </c:pt>
                <c:pt idx="35">
                  <c:v>38352</c:v>
                </c:pt>
                <c:pt idx="36">
                  <c:v>38383</c:v>
                </c:pt>
                <c:pt idx="37">
                  <c:v>38411</c:v>
                </c:pt>
                <c:pt idx="38">
                  <c:v>38442</c:v>
                </c:pt>
                <c:pt idx="39">
                  <c:v>38471</c:v>
                </c:pt>
                <c:pt idx="40">
                  <c:v>38503</c:v>
                </c:pt>
                <c:pt idx="41">
                  <c:v>38533</c:v>
                </c:pt>
                <c:pt idx="42">
                  <c:v>38562</c:v>
                </c:pt>
                <c:pt idx="43">
                  <c:v>38595</c:v>
                </c:pt>
                <c:pt idx="44">
                  <c:v>38625</c:v>
                </c:pt>
                <c:pt idx="45">
                  <c:v>38656</c:v>
                </c:pt>
                <c:pt idx="46">
                  <c:v>38686</c:v>
                </c:pt>
                <c:pt idx="47">
                  <c:v>38716</c:v>
                </c:pt>
                <c:pt idx="48">
                  <c:v>38748</c:v>
                </c:pt>
                <c:pt idx="49">
                  <c:v>38776</c:v>
                </c:pt>
                <c:pt idx="50">
                  <c:v>38807</c:v>
                </c:pt>
                <c:pt idx="51">
                  <c:v>38835</c:v>
                </c:pt>
                <c:pt idx="52">
                  <c:v>38868</c:v>
                </c:pt>
                <c:pt idx="53">
                  <c:v>38898</c:v>
                </c:pt>
                <c:pt idx="54">
                  <c:v>38929</c:v>
                </c:pt>
                <c:pt idx="55">
                  <c:v>38960</c:v>
                </c:pt>
                <c:pt idx="56">
                  <c:v>38989</c:v>
                </c:pt>
                <c:pt idx="57">
                  <c:v>39021</c:v>
                </c:pt>
                <c:pt idx="58">
                  <c:v>39051</c:v>
                </c:pt>
                <c:pt idx="59">
                  <c:v>39080</c:v>
                </c:pt>
                <c:pt idx="60">
                  <c:v>39113</c:v>
                </c:pt>
                <c:pt idx="61">
                  <c:v>39141</c:v>
                </c:pt>
                <c:pt idx="62">
                  <c:v>39171</c:v>
                </c:pt>
                <c:pt idx="63">
                  <c:v>39202</c:v>
                </c:pt>
                <c:pt idx="64">
                  <c:v>39233</c:v>
                </c:pt>
                <c:pt idx="65">
                  <c:v>39262</c:v>
                </c:pt>
                <c:pt idx="66">
                  <c:v>39294</c:v>
                </c:pt>
                <c:pt idx="67">
                  <c:v>39325</c:v>
                </c:pt>
                <c:pt idx="68">
                  <c:v>39353</c:v>
                </c:pt>
                <c:pt idx="69">
                  <c:v>39386</c:v>
                </c:pt>
                <c:pt idx="70">
                  <c:v>39416</c:v>
                </c:pt>
                <c:pt idx="71">
                  <c:v>39447</c:v>
                </c:pt>
                <c:pt idx="72">
                  <c:v>39478</c:v>
                </c:pt>
                <c:pt idx="73">
                  <c:v>39507</c:v>
                </c:pt>
                <c:pt idx="74">
                  <c:v>39538</c:v>
                </c:pt>
                <c:pt idx="75">
                  <c:v>39568</c:v>
                </c:pt>
                <c:pt idx="76">
                  <c:v>39598</c:v>
                </c:pt>
                <c:pt idx="77">
                  <c:v>39629</c:v>
                </c:pt>
                <c:pt idx="78">
                  <c:v>39660</c:v>
                </c:pt>
                <c:pt idx="79">
                  <c:v>39689</c:v>
                </c:pt>
                <c:pt idx="80">
                  <c:v>39721</c:v>
                </c:pt>
                <c:pt idx="81">
                  <c:v>39752</c:v>
                </c:pt>
                <c:pt idx="82">
                  <c:v>39780</c:v>
                </c:pt>
                <c:pt idx="83">
                  <c:v>39813</c:v>
                </c:pt>
                <c:pt idx="84">
                  <c:v>39843</c:v>
                </c:pt>
                <c:pt idx="85">
                  <c:v>39871</c:v>
                </c:pt>
                <c:pt idx="86">
                  <c:v>39903</c:v>
                </c:pt>
                <c:pt idx="87">
                  <c:v>39933</c:v>
                </c:pt>
                <c:pt idx="88">
                  <c:v>39962</c:v>
                </c:pt>
                <c:pt idx="89">
                  <c:v>39994</c:v>
                </c:pt>
                <c:pt idx="90">
                  <c:v>40025</c:v>
                </c:pt>
                <c:pt idx="91">
                  <c:v>40056</c:v>
                </c:pt>
                <c:pt idx="92">
                  <c:v>40086</c:v>
                </c:pt>
                <c:pt idx="93">
                  <c:v>40116</c:v>
                </c:pt>
                <c:pt idx="94">
                  <c:v>40147</c:v>
                </c:pt>
                <c:pt idx="95">
                  <c:v>40178</c:v>
                </c:pt>
                <c:pt idx="96">
                  <c:v>40207</c:v>
                </c:pt>
                <c:pt idx="97">
                  <c:v>40235</c:v>
                </c:pt>
                <c:pt idx="98">
                  <c:v>40268</c:v>
                </c:pt>
                <c:pt idx="99">
                  <c:v>40298</c:v>
                </c:pt>
                <c:pt idx="100">
                  <c:v>40329</c:v>
                </c:pt>
                <c:pt idx="101">
                  <c:v>40359</c:v>
                </c:pt>
                <c:pt idx="102">
                  <c:v>40389</c:v>
                </c:pt>
                <c:pt idx="103">
                  <c:v>40421</c:v>
                </c:pt>
                <c:pt idx="104">
                  <c:v>40451</c:v>
                </c:pt>
                <c:pt idx="105">
                  <c:v>40480</c:v>
                </c:pt>
                <c:pt idx="106">
                  <c:v>40512</c:v>
                </c:pt>
                <c:pt idx="107">
                  <c:v>40543</c:v>
                </c:pt>
                <c:pt idx="108">
                  <c:v>40574</c:v>
                </c:pt>
                <c:pt idx="109">
                  <c:v>40602</c:v>
                </c:pt>
                <c:pt idx="110">
                  <c:v>40633</c:v>
                </c:pt>
                <c:pt idx="111">
                  <c:v>40662</c:v>
                </c:pt>
                <c:pt idx="112">
                  <c:v>40694</c:v>
                </c:pt>
                <c:pt idx="113">
                  <c:v>40724</c:v>
                </c:pt>
                <c:pt idx="114">
                  <c:v>40753</c:v>
                </c:pt>
                <c:pt idx="115">
                  <c:v>40786</c:v>
                </c:pt>
                <c:pt idx="116">
                  <c:v>40816</c:v>
                </c:pt>
                <c:pt idx="117">
                  <c:v>40847</c:v>
                </c:pt>
                <c:pt idx="118">
                  <c:v>40877</c:v>
                </c:pt>
                <c:pt idx="119">
                  <c:v>40907</c:v>
                </c:pt>
                <c:pt idx="120">
                  <c:v>40939</c:v>
                </c:pt>
                <c:pt idx="121">
                  <c:v>40968</c:v>
                </c:pt>
                <c:pt idx="122">
                  <c:v>40998</c:v>
                </c:pt>
                <c:pt idx="123">
                  <c:v>41029</c:v>
                </c:pt>
                <c:pt idx="124">
                  <c:v>41060</c:v>
                </c:pt>
                <c:pt idx="125">
                  <c:v>41089</c:v>
                </c:pt>
                <c:pt idx="126">
                  <c:v>41121</c:v>
                </c:pt>
                <c:pt idx="127">
                  <c:v>41152</c:v>
                </c:pt>
                <c:pt idx="128">
                  <c:v>41180</c:v>
                </c:pt>
                <c:pt idx="129">
                  <c:v>41213</c:v>
                </c:pt>
                <c:pt idx="130">
                  <c:v>41243</c:v>
                </c:pt>
                <c:pt idx="131">
                  <c:v>41274</c:v>
                </c:pt>
                <c:pt idx="132">
                  <c:v>41305</c:v>
                </c:pt>
                <c:pt idx="133">
                  <c:v>41333</c:v>
                </c:pt>
                <c:pt idx="134">
                  <c:v>41362</c:v>
                </c:pt>
                <c:pt idx="135">
                  <c:v>41394</c:v>
                </c:pt>
                <c:pt idx="136">
                  <c:v>41425</c:v>
                </c:pt>
                <c:pt idx="137">
                  <c:v>41453</c:v>
                </c:pt>
                <c:pt idx="138">
                  <c:v>41486</c:v>
                </c:pt>
                <c:pt idx="139">
                  <c:v>41516</c:v>
                </c:pt>
                <c:pt idx="140">
                  <c:v>41547</c:v>
                </c:pt>
                <c:pt idx="141">
                  <c:v>41578</c:v>
                </c:pt>
                <c:pt idx="142">
                  <c:v>41607</c:v>
                </c:pt>
                <c:pt idx="143">
                  <c:v>41639</c:v>
                </c:pt>
                <c:pt idx="144">
                  <c:v>41670</c:v>
                </c:pt>
                <c:pt idx="145">
                  <c:v>41698</c:v>
                </c:pt>
                <c:pt idx="146">
                  <c:v>41729</c:v>
                </c:pt>
                <c:pt idx="147">
                  <c:v>41759</c:v>
                </c:pt>
                <c:pt idx="148">
                  <c:v>41789</c:v>
                </c:pt>
                <c:pt idx="149">
                  <c:v>41820</c:v>
                </c:pt>
                <c:pt idx="150">
                  <c:v>41851</c:v>
                </c:pt>
                <c:pt idx="151">
                  <c:v>41880</c:v>
                </c:pt>
                <c:pt idx="152">
                  <c:v>41912</c:v>
                </c:pt>
                <c:pt idx="153">
                  <c:v>41943</c:v>
                </c:pt>
                <c:pt idx="154">
                  <c:v>41971</c:v>
                </c:pt>
                <c:pt idx="155">
                  <c:v>42004</c:v>
                </c:pt>
                <c:pt idx="156">
                  <c:v>42034</c:v>
                </c:pt>
                <c:pt idx="157">
                  <c:v>42062</c:v>
                </c:pt>
                <c:pt idx="158">
                  <c:v>42094</c:v>
                </c:pt>
                <c:pt idx="159">
                  <c:v>42124</c:v>
                </c:pt>
                <c:pt idx="160">
                  <c:v>42153</c:v>
                </c:pt>
                <c:pt idx="161">
                  <c:v>42185</c:v>
                </c:pt>
                <c:pt idx="162">
                  <c:v>42216</c:v>
                </c:pt>
                <c:pt idx="163">
                  <c:v>42247</c:v>
                </c:pt>
                <c:pt idx="164">
                  <c:v>42277</c:v>
                </c:pt>
                <c:pt idx="165">
                  <c:v>42307</c:v>
                </c:pt>
                <c:pt idx="166">
                  <c:v>42338</c:v>
                </c:pt>
                <c:pt idx="167">
                  <c:v>42369</c:v>
                </c:pt>
                <c:pt idx="168">
                  <c:v>42398</c:v>
                </c:pt>
                <c:pt idx="169">
                  <c:v>42429</c:v>
                </c:pt>
                <c:pt idx="170">
                  <c:v>42460</c:v>
                </c:pt>
                <c:pt idx="171">
                  <c:v>42489</c:v>
                </c:pt>
                <c:pt idx="172">
                  <c:v>42521</c:v>
                </c:pt>
                <c:pt idx="173">
                  <c:v>42551</c:v>
                </c:pt>
                <c:pt idx="174">
                  <c:v>42580</c:v>
                </c:pt>
                <c:pt idx="175">
                  <c:v>42613</c:v>
                </c:pt>
                <c:pt idx="176">
                  <c:v>42643</c:v>
                </c:pt>
                <c:pt idx="177">
                  <c:v>42674</c:v>
                </c:pt>
                <c:pt idx="178">
                  <c:v>42704</c:v>
                </c:pt>
                <c:pt idx="179">
                  <c:v>42734</c:v>
                </c:pt>
                <c:pt idx="180">
                  <c:v>42766</c:v>
                </c:pt>
                <c:pt idx="181">
                  <c:v>42794</c:v>
                </c:pt>
                <c:pt idx="182">
                  <c:v>42825</c:v>
                </c:pt>
                <c:pt idx="183">
                  <c:v>42853</c:v>
                </c:pt>
                <c:pt idx="184">
                  <c:v>42886</c:v>
                </c:pt>
                <c:pt idx="185">
                  <c:v>42916</c:v>
                </c:pt>
                <c:pt idx="186">
                  <c:v>42947</c:v>
                </c:pt>
                <c:pt idx="187">
                  <c:v>42978</c:v>
                </c:pt>
                <c:pt idx="188">
                  <c:v>43007</c:v>
                </c:pt>
                <c:pt idx="189">
                  <c:v>43039</c:v>
                </c:pt>
                <c:pt idx="190">
                  <c:v>43069</c:v>
                </c:pt>
                <c:pt idx="191">
                  <c:v>43098</c:v>
                </c:pt>
                <c:pt idx="192">
                  <c:v>43131</c:v>
                </c:pt>
                <c:pt idx="193">
                  <c:v>43159</c:v>
                </c:pt>
                <c:pt idx="194">
                  <c:v>43189</c:v>
                </c:pt>
                <c:pt idx="195">
                  <c:v>43220</c:v>
                </c:pt>
                <c:pt idx="196">
                  <c:v>43251</c:v>
                </c:pt>
                <c:pt idx="197">
                  <c:v>43280</c:v>
                </c:pt>
                <c:pt idx="198">
                  <c:v>43312</c:v>
                </c:pt>
                <c:pt idx="199">
                  <c:v>43343</c:v>
                </c:pt>
                <c:pt idx="200">
                  <c:v>43371</c:v>
                </c:pt>
                <c:pt idx="201">
                  <c:v>43404</c:v>
                </c:pt>
                <c:pt idx="202">
                  <c:v>43434</c:v>
                </c:pt>
                <c:pt idx="203">
                  <c:v>43465</c:v>
                </c:pt>
                <c:pt idx="204">
                  <c:v>43496</c:v>
                </c:pt>
                <c:pt idx="205">
                  <c:v>43524</c:v>
                </c:pt>
                <c:pt idx="206">
                  <c:v>43553</c:v>
                </c:pt>
                <c:pt idx="207">
                  <c:v>43585</c:v>
                </c:pt>
                <c:pt idx="208">
                  <c:v>43616</c:v>
                </c:pt>
                <c:pt idx="209">
                  <c:v>43644</c:v>
                </c:pt>
                <c:pt idx="210">
                  <c:v>43677</c:v>
                </c:pt>
                <c:pt idx="211">
                  <c:v>43707</c:v>
                </c:pt>
                <c:pt idx="212">
                  <c:v>43738</c:v>
                </c:pt>
                <c:pt idx="213">
                  <c:v>43769</c:v>
                </c:pt>
                <c:pt idx="214">
                  <c:v>43798</c:v>
                </c:pt>
                <c:pt idx="215">
                  <c:v>43830</c:v>
                </c:pt>
                <c:pt idx="216">
                  <c:v>43861</c:v>
                </c:pt>
                <c:pt idx="217">
                  <c:v>43889</c:v>
                </c:pt>
                <c:pt idx="218">
                  <c:v>43921</c:v>
                </c:pt>
                <c:pt idx="219">
                  <c:v>43951</c:v>
                </c:pt>
                <c:pt idx="220">
                  <c:v>43980</c:v>
                </c:pt>
                <c:pt idx="221">
                  <c:v>44012</c:v>
                </c:pt>
                <c:pt idx="222">
                  <c:v>44043</c:v>
                </c:pt>
                <c:pt idx="223">
                  <c:v>44074</c:v>
                </c:pt>
                <c:pt idx="224">
                  <c:v>44104</c:v>
                </c:pt>
                <c:pt idx="225">
                  <c:v>44134</c:v>
                </c:pt>
                <c:pt idx="226">
                  <c:v>44165</c:v>
                </c:pt>
                <c:pt idx="227">
                  <c:v>44196</c:v>
                </c:pt>
                <c:pt idx="228">
                  <c:v>44225</c:v>
                </c:pt>
                <c:pt idx="229">
                  <c:v>44253</c:v>
                </c:pt>
                <c:pt idx="230">
                  <c:v>44286</c:v>
                </c:pt>
                <c:pt idx="231">
                  <c:v>44316</c:v>
                </c:pt>
                <c:pt idx="232">
                  <c:v>44347</c:v>
                </c:pt>
                <c:pt idx="233">
                  <c:v>44377</c:v>
                </c:pt>
                <c:pt idx="234">
                  <c:v>44407</c:v>
                </c:pt>
                <c:pt idx="235">
                  <c:v>44439</c:v>
                </c:pt>
                <c:pt idx="236">
                  <c:v>44469</c:v>
                </c:pt>
                <c:pt idx="237">
                  <c:v>44498</c:v>
                </c:pt>
                <c:pt idx="238">
                  <c:v>44530</c:v>
                </c:pt>
                <c:pt idx="239">
                  <c:v>44561</c:v>
                </c:pt>
                <c:pt idx="240">
                  <c:v>44592</c:v>
                </c:pt>
                <c:pt idx="241">
                  <c:v>44620</c:v>
                </c:pt>
                <c:pt idx="242">
                  <c:v>44651</c:v>
                </c:pt>
                <c:pt idx="243">
                  <c:v>44681</c:v>
                </c:pt>
                <c:pt idx="244">
                  <c:v>44712</c:v>
                </c:pt>
                <c:pt idx="245">
                  <c:v>44742</c:v>
                </c:pt>
                <c:pt idx="246">
                  <c:v>44773</c:v>
                </c:pt>
                <c:pt idx="247">
                  <c:v>44804</c:v>
                </c:pt>
                <c:pt idx="248">
                  <c:v>44834</c:v>
                </c:pt>
                <c:pt idx="249">
                  <c:v>44865</c:v>
                </c:pt>
                <c:pt idx="250">
                  <c:v>44895</c:v>
                </c:pt>
              </c:numCache>
            </c:numRef>
          </c:cat>
          <c:val>
            <c:numRef>
              <c:f>dev_rates!$D$3:$D$253</c:f>
              <c:numCache>
                <c:formatCode>General</c:formatCode>
                <c:ptCount val="251"/>
                <c:pt idx="0">
                  <c:v>1.75</c:v>
                </c:pt>
                <c:pt idx="1">
                  <c:v>1.75</c:v>
                </c:pt>
                <c:pt idx="2">
                  <c:v>1.75</c:v>
                </c:pt>
                <c:pt idx="3">
                  <c:v>1.75</c:v>
                </c:pt>
                <c:pt idx="4">
                  <c:v>1.75</c:v>
                </c:pt>
                <c:pt idx="5">
                  <c:v>1.75</c:v>
                </c:pt>
                <c:pt idx="6">
                  <c:v>1.75</c:v>
                </c:pt>
                <c:pt idx="7">
                  <c:v>1.75</c:v>
                </c:pt>
                <c:pt idx="8">
                  <c:v>1.75</c:v>
                </c:pt>
                <c:pt idx="9">
                  <c:v>1.75</c:v>
                </c:pt>
                <c:pt idx="10">
                  <c:v>1.25</c:v>
                </c:pt>
                <c:pt idx="11">
                  <c:v>1.25</c:v>
                </c:pt>
                <c:pt idx="12">
                  <c:v>1.25</c:v>
                </c:pt>
                <c:pt idx="13">
                  <c:v>1.25</c:v>
                </c:pt>
                <c:pt idx="14">
                  <c:v>1.25</c:v>
                </c:pt>
                <c:pt idx="15">
                  <c:v>1.25</c:v>
                </c:pt>
                <c:pt idx="16">
                  <c:v>1.25</c:v>
                </c:pt>
                <c:pt idx="17">
                  <c:v>1</c:v>
                </c:pt>
                <c:pt idx="18">
                  <c:v>1</c:v>
                </c:pt>
                <c:pt idx="19">
                  <c:v>1</c:v>
                </c:pt>
                <c:pt idx="20">
                  <c:v>1</c:v>
                </c:pt>
                <c:pt idx="21">
                  <c:v>1</c:v>
                </c:pt>
                <c:pt idx="22">
                  <c:v>1</c:v>
                </c:pt>
                <c:pt idx="23">
                  <c:v>1</c:v>
                </c:pt>
                <c:pt idx="24">
                  <c:v>1</c:v>
                </c:pt>
                <c:pt idx="25">
                  <c:v>1</c:v>
                </c:pt>
                <c:pt idx="26">
                  <c:v>1</c:v>
                </c:pt>
                <c:pt idx="27">
                  <c:v>1</c:v>
                </c:pt>
                <c:pt idx="28">
                  <c:v>1</c:v>
                </c:pt>
                <c:pt idx="29">
                  <c:v>1.25</c:v>
                </c:pt>
                <c:pt idx="30">
                  <c:v>1.25</c:v>
                </c:pt>
                <c:pt idx="31">
                  <c:v>1.5</c:v>
                </c:pt>
                <c:pt idx="32">
                  <c:v>1.75</c:v>
                </c:pt>
                <c:pt idx="33">
                  <c:v>1.75</c:v>
                </c:pt>
                <c:pt idx="34">
                  <c:v>2</c:v>
                </c:pt>
                <c:pt idx="35">
                  <c:v>2.25</c:v>
                </c:pt>
                <c:pt idx="36">
                  <c:v>2.25</c:v>
                </c:pt>
                <c:pt idx="37">
                  <c:v>2.5</c:v>
                </c:pt>
                <c:pt idx="38">
                  <c:v>2.75</c:v>
                </c:pt>
                <c:pt idx="39">
                  <c:v>2.75</c:v>
                </c:pt>
                <c:pt idx="40">
                  <c:v>3</c:v>
                </c:pt>
                <c:pt idx="41">
                  <c:v>3.25</c:v>
                </c:pt>
                <c:pt idx="42">
                  <c:v>3.25</c:v>
                </c:pt>
                <c:pt idx="43">
                  <c:v>3.5</c:v>
                </c:pt>
                <c:pt idx="44">
                  <c:v>3.75</c:v>
                </c:pt>
                <c:pt idx="45">
                  <c:v>3.75</c:v>
                </c:pt>
                <c:pt idx="46">
                  <c:v>4</c:v>
                </c:pt>
                <c:pt idx="47">
                  <c:v>4.25</c:v>
                </c:pt>
                <c:pt idx="48">
                  <c:v>4.5</c:v>
                </c:pt>
                <c:pt idx="49">
                  <c:v>4.5</c:v>
                </c:pt>
                <c:pt idx="50">
                  <c:v>4.75</c:v>
                </c:pt>
                <c:pt idx="51">
                  <c:v>4.75</c:v>
                </c:pt>
                <c:pt idx="52">
                  <c:v>5</c:v>
                </c:pt>
                <c:pt idx="53">
                  <c:v>5.25</c:v>
                </c:pt>
                <c:pt idx="54">
                  <c:v>5.25</c:v>
                </c:pt>
                <c:pt idx="55">
                  <c:v>5.25</c:v>
                </c:pt>
                <c:pt idx="56">
                  <c:v>5.25</c:v>
                </c:pt>
                <c:pt idx="57">
                  <c:v>5.25</c:v>
                </c:pt>
                <c:pt idx="58">
                  <c:v>5.25</c:v>
                </c:pt>
                <c:pt idx="59">
                  <c:v>5.25</c:v>
                </c:pt>
                <c:pt idx="60">
                  <c:v>5.25</c:v>
                </c:pt>
                <c:pt idx="61">
                  <c:v>5.25</c:v>
                </c:pt>
                <c:pt idx="62">
                  <c:v>5.25</c:v>
                </c:pt>
                <c:pt idx="63">
                  <c:v>5.25</c:v>
                </c:pt>
                <c:pt idx="64">
                  <c:v>5.25</c:v>
                </c:pt>
                <c:pt idx="65">
                  <c:v>5.25</c:v>
                </c:pt>
                <c:pt idx="66">
                  <c:v>5.25</c:v>
                </c:pt>
                <c:pt idx="67">
                  <c:v>5.25</c:v>
                </c:pt>
                <c:pt idx="68">
                  <c:v>4.75</c:v>
                </c:pt>
                <c:pt idx="69">
                  <c:v>4.5</c:v>
                </c:pt>
                <c:pt idx="70">
                  <c:v>4.5</c:v>
                </c:pt>
                <c:pt idx="71">
                  <c:v>4.25</c:v>
                </c:pt>
                <c:pt idx="72">
                  <c:v>3</c:v>
                </c:pt>
                <c:pt idx="73">
                  <c:v>3</c:v>
                </c:pt>
                <c:pt idx="74">
                  <c:v>2.25</c:v>
                </c:pt>
                <c:pt idx="75">
                  <c:v>2</c:v>
                </c:pt>
                <c:pt idx="76">
                  <c:v>2</c:v>
                </c:pt>
                <c:pt idx="77">
                  <c:v>2</c:v>
                </c:pt>
                <c:pt idx="78">
                  <c:v>2</c:v>
                </c:pt>
                <c:pt idx="79">
                  <c:v>2</c:v>
                </c:pt>
                <c:pt idx="80">
                  <c:v>2</c:v>
                </c:pt>
                <c:pt idx="81">
                  <c:v>1</c:v>
                </c:pt>
                <c:pt idx="82">
                  <c:v>1</c:v>
                </c:pt>
                <c:pt idx="83">
                  <c:v>0.25</c:v>
                </c:pt>
                <c:pt idx="84">
                  <c:v>0.25</c:v>
                </c:pt>
                <c:pt idx="85">
                  <c:v>0.25</c:v>
                </c:pt>
                <c:pt idx="86">
                  <c:v>0.25</c:v>
                </c:pt>
                <c:pt idx="87">
                  <c:v>0.25</c:v>
                </c:pt>
                <c:pt idx="88">
                  <c:v>0.25</c:v>
                </c:pt>
                <c:pt idx="89">
                  <c:v>0.25</c:v>
                </c:pt>
                <c:pt idx="90">
                  <c:v>0.25</c:v>
                </c:pt>
                <c:pt idx="91">
                  <c:v>0.25</c:v>
                </c:pt>
                <c:pt idx="92">
                  <c:v>0.25</c:v>
                </c:pt>
                <c:pt idx="93">
                  <c:v>0.25</c:v>
                </c:pt>
                <c:pt idx="94">
                  <c:v>0.25</c:v>
                </c:pt>
                <c:pt idx="95">
                  <c:v>0.25</c:v>
                </c:pt>
                <c:pt idx="96">
                  <c:v>0.25</c:v>
                </c:pt>
                <c:pt idx="97">
                  <c:v>0.25</c:v>
                </c:pt>
                <c:pt idx="98">
                  <c:v>0.25</c:v>
                </c:pt>
                <c:pt idx="99">
                  <c:v>0.25</c:v>
                </c:pt>
                <c:pt idx="100">
                  <c:v>0.25</c:v>
                </c:pt>
                <c:pt idx="101">
                  <c:v>0.25</c:v>
                </c:pt>
                <c:pt idx="102">
                  <c:v>0.25</c:v>
                </c:pt>
                <c:pt idx="103">
                  <c:v>0.25</c:v>
                </c:pt>
                <c:pt idx="104">
                  <c:v>0.25</c:v>
                </c:pt>
                <c:pt idx="105">
                  <c:v>0.25</c:v>
                </c:pt>
                <c:pt idx="106">
                  <c:v>0.25</c:v>
                </c:pt>
                <c:pt idx="107">
                  <c:v>0.25</c:v>
                </c:pt>
                <c:pt idx="108">
                  <c:v>0.25</c:v>
                </c:pt>
                <c:pt idx="109">
                  <c:v>0.25</c:v>
                </c:pt>
                <c:pt idx="110">
                  <c:v>0.25</c:v>
                </c:pt>
                <c:pt idx="111">
                  <c:v>0.25</c:v>
                </c:pt>
                <c:pt idx="112">
                  <c:v>0.25</c:v>
                </c:pt>
                <c:pt idx="113">
                  <c:v>0.25</c:v>
                </c:pt>
                <c:pt idx="114">
                  <c:v>0.25</c:v>
                </c:pt>
                <c:pt idx="115">
                  <c:v>0.25</c:v>
                </c:pt>
                <c:pt idx="116">
                  <c:v>0.25</c:v>
                </c:pt>
                <c:pt idx="117">
                  <c:v>0.25</c:v>
                </c:pt>
                <c:pt idx="118">
                  <c:v>0.25</c:v>
                </c:pt>
                <c:pt idx="119">
                  <c:v>0.25</c:v>
                </c:pt>
                <c:pt idx="120">
                  <c:v>0.25</c:v>
                </c:pt>
                <c:pt idx="121">
                  <c:v>0.25</c:v>
                </c:pt>
                <c:pt idx="122">
                  <c:v>0.25</c:v>
                </c:pt>
                <c:pt idx="123">
                  <c:v>0.25</c:v>
                </c:pt>
                <c:pt idx="124">
                  <c:v>0.25</c:v>
                </c:pt>
                <c:pt idx="125">
                  <c:v>0.25</c:v>
                </c:pt>
                <c:pt idx="126">
                  <c:v>0.25</c:v>
                </c:pt>
                <c:pt idx="127">
                  <c:v>0.25</c:v>
                </c:pt>
                <c:pt idx="128">
                  <c:v>0.25</c:v>
                </c:pt>
                <c:pt idx="129">
                  <c:v>0.25</c:v>
                </c:pt>
                <c:pt idx="130">
                  <c:v>0.25</c:v>
                </c:pt>
                <c:pt idx="131">
                  <c:v>0.25</c:v>
                </c:pt>
                <c:pt idx="132">
                  <c:v>0.25</c:v>
                </c:pt>
                <c:pt idx="133">
                  <c:v>0.25</c:v>
                </c:pt>
                <c:pt idx="134">
                  <c:v>0.25</c:v>
                </c:pt>
                <c:pt idx="135">
                  <c:v>0.25</c:v>
                </c:pt>
                <c:pt idx="136">
                  <c:v>0.25</c:v>
                </c:pt>
                <c:pt idx="137">
                  <c:v>0.25</c:v>
                </c:pt>
                <c:pt idx="138">
                  <c:v>0.25</c:v>
                </c:pt>
                <c:pt idx="139">
                  <c:v>0.25</c:v>
                </c:pt>
                <c:pt idx="140">
                  <c:v>0.25</c:v>
                </c:pt>
                <c:pt idx="141">
                  <c:v>0.25</c:v>
                </c:pt>
                <c:pt idx="142">
                  <c:v>0.25</c:v>
                </c:pt>
                <c:pt idx="143">
                  <c:v>0.25</c:v>
                </c:pt>
                <c:pt idx="144">
                  <c:v>0.25</c:v>
                </c:pt>
                <c:pt idx="145">
                  <c:v>0.25</c:v>
                </c:pt>
                <c:pt idx="146">
                  <c:v>0.25</c:v>
                </c:pt>
                <c:pt idx="147">
                  <c:v>0.25</c:v>
                </c:pt>
                <c:pt idx="148">
                  <c:v>0.25</c:v>
                </c:pt>
                <c:pt idx="149">
                  <c:v>0.25</c:v>
                </c:pt>
                <c:pt idx="150">
                  <c:v>0.25</c:v>
                </c:pt>
                <c:pt idx="151">
                  <c:v>0.25</c:v>
                </c:pt>
                <c:pt idx="152">
                  <c:v>0.25</c:v>
                </c:pt>
                <c:pt idx="153">
                  <c:v>0.25</c:v>
                </c:pt>
                <c:pt idx="154">
                  <c:v>0.25</c:v>
                </c:pt>
                <c:pt idx="155">
                  <c:v>0.25</c:v>
                </c:pt>
                <c:pt idx="156">
                  <c:v>0.25</c:v>
                </c:pt>
                <c:pt idx="157">
                  <c:v>0.25</c:v>
                </c:pt>
                <c:pt idx="158">
                  <c:v>0.25</c:v>
                </c:pt>
                <c:pt idx="159">
                  <c:v>0.25</c:v>
                </c:pt>
                <c:pt idx="160">
                  <c:v>0.25</c:v>
                </c:pt>
                <c:pt idx="161">
                  <c:v>0.25</c:v>
                </c:pt>
                <c:pt idx="162">
                  <c:v>0.25</c:v>
                </c:pt>
                <c:pt idx="163">
                  <c:v>0.25</c:v>
                </c:pt>
                <c:pt idx="164">
                  <c:v>0.25</c:v>
                </c:pt>
                <c:pt idx="165">
                  <c:v>0.25</c:v>
                </c:pt>
                <c:pt idx="166">
                  <c:v>0.25</c:v>
                </c:pt>
                <c:pt idx="167">
                  <c:v>0.5</c:v>
                </c:pt>
                <c:pt idx="168">
                  <c:v>0.5</c:v>
                </c:pt>
                <c:pt idx="169">
                  <c:v>0.5</c:v>
                </c:pt>
                <c:pt idx="170">
                  <c:v>0.5</c:v>
                </c:pt>
                <c:pt idx="171">
                  <c:v>0.5</c:v>
                </c:pt>
                <c:pt idx="172">
                  <c:v>0.5</c:v>
                </c:pt>
                <c:pt idx="173">
                  <c:v>0.5</c:v>
                </c:pt>
                <c:pt idx="174">
                  <c:v>0.5</c:v>
                </c:pt>
                <c:pt idx="175">
                  <c:v>0.5</c:v>
                </c:pt>
                <c:pt idx="176">
                  <c:v>0.5</c:v>
                </c:pt>
                <c:pt idx="177">
                  <c:v>0.5</c:v>
                </c:pt>
                <c:pt idx="178">
                  <c:v>0.5</c:v>
                </c:pt>
                <c:pt idx="179">
                  <c:v>0.75</c:v>
                </c:pt>
                <c:pt idx="180">
                  <c:v>0.75</c:v>
                </c:pt>
                <c:pt idx="181">
                  <c:v>0.75</c:v>
                </c:pt>
                <c:pt idx="182">
                  <c:v>1</c:v>
                </c:pt>
                <c:pt idx="183">
                  <c:v>1</c:v>
                </c:pt>
                <c:pt idx="184">
                  <c:v>1</c:v>
                </c:pt>
                <c:pt idx="185">
                  <c:v>1.25</c:v>
                </c:pt>
                <c:pt idx="186">
                  <c:v>1.25</c:v>
                </c:pt>
                <c:pt idx="187">
                  <c:v>1.25</c:v>
                </c:pt>
                <c:pt idx="188">
                  <c:v>1.25</c:v>
                </c:pt>
                <c:pt idx="189">
                  <c:v>1.25</c:v>
                </c:pt>
                <c:pt idx="190">
                  <c:v>1.25</c:v>
                </c:pt>
                <c:pt idx="191">
                  <c:v>1.5</c:v>
                </c:pt>
                <c:pt idx="192">
                  <c:v>1.5</c:v>
                </c:pt>
                <c:pt idx="193">
                  <c:v>1.5</c:v>
                </c:pt>
                <c:pt idx="194">
                  <c:v>1.75</c:v>
                </c:pt>
                <c:pt idx="195">
                  <c:v>1.75</c:v>
                </c:pt>
                <c:pt idx="196">
                  <c:v>1.75</c:v>
                </c:pt>
                <c:pt idx="197">
                  <c:v>2</c:v>
                </c:pt>
                <c:pt idx="198">
                  <c:v>2</c:v>
                </c:pt>
                <c:pt idx="199">
                  <c:v>2</c:v>
                </c:pt>
                <c:pt idx="200">
                  <c:v>2.25</c:v>
                </c:pt>
                <c:pt idx="201">
                  <c:v>2.25</c:v>
                </c:pt>
                <c:pt idx="202">
                  <c:v>2.25</c:v>
                </c:pt>
                <c:pt idx="203">
                  <c:v>2.5</c:v>
                </c:pt>
                <c:pt idx="204">
                  <c:v>2.5</c:v>
                </c:pt>
                <c:pt idx="205">
                  <c:v>2.5</c:v>
                </c:pt>
                <c:pt idx="206">
                  <c:v>2.5</c:v>
                </c:pt>
                <c:pt idx="207">
                  <c:v>2.5</c:v>
                </c:pt>
                <c:pt idx="208">
                  <c:v>2.5</c:v>
                </c:pt>
                <c:pt idx="209">
                  <c:v>2.5</c:v>
                </c:pt>
                <c:pt idx="210">
                  <c:v>2.5</c:v>
                </c:pt>
                <c:pt idx="211">
                  <c:v>2.25</c:v>
                </c:pt>
                <c:pt idx="212">
                  <c:v>2</c:v>
                </c:pt>
                <c:pt idx="213">
                  <c:v>1.75</c:v>
                </c:pt>
                <c:pt idx="214">
                  <c:v>1.75</c:v>
                </c:pt>
                <c:pt idx="215">
                  <c:v>1.75</c:v>
                </c:pt>
                <c:pt idx="216">
                  <c:v>1.75</c:v>
                </c:pt>
                <c:pt idx="217">
                  <c:v>1.75</c:v>
                </c:pt>
                <c:pt idx="218">
                  <c:v>0.25</c:v>
                </c:pt>
                <c:pt idx="219">
                  <c:v>0.25</c:v>
                </c:pt>
                <c:pt idx="220">
                  <c:v>0.25</c:v>
                </c:pt>
                <c:pt idx="221">
                  <c:v>0.25</c:v>
                </c:pt>
                <c:pt idx="222">
                  <c:v>0.25</c:v>
                </c:pt>
                <c:pt idx="223">
                  <c:v>0.25</c:v>
                </c:pt>
                <c:pt idx="224">
                  <c:v>0.25</c:v>
                </c:pt>
                <c:pt idx="225">
                  <c:v>0.25</c:v>
                </c:pt>
                <c:pt idx="226">
                  <c:v>0.25</c:v>
                </c:pt>
                <c:pt idx="227">
                  <c:v>0.25</c:v>
                </c:pt>
                <c:pt idx="228">
                  <c:v>0.25</c:v>
                </c:pt>
                <c:pt idx="229">
                  <c:v>0.25</c:v>
                </c:pt>
                <c:pt idx="230">
                  <c:v>0.25</c:v>
                </c:pt>
                <c:pt idx="231">
                  <c:v>0.25</c:v>
                </c:pt>
                <c:pt idx="232">
                  <c:v>0.25</c:v>
                </c:pt>
                <c:pt idx="233">
                  <c:v>0.25</c:v>
                </c:pt>
                <c:pt idx="234">
                  <c:v>0.25</c:v>
                </c:pt>
                <c:pt idx="235">
                  <c:v>0.25</c:v>
                </c:pt>
                <c:pt idx="236">
                  <c:v>0.25</c:v>
                </c:pt>
                <c:pt idx="237">
                  <c:v>0.25</c:v>
                </c:pt>
                <c:pt idx="238">
                  <c:v>0.25</c:v>
                </c:pt>
                <c:pt idx="239">
                  <c:v>0.25</c:v>
                </c:pt>
                <c:pt idx="240">
                  <c:v>0.25</c:v>
                </c:pt>
                <c:pt idx="241">
                  <c:v>0.5</c:v>
                </c:pt>
                <c:pt idx="242">
                  <c:v>0.75</c:v>
                </c:pt>
                <c:pt idx="243">
                  <c:v>0.75</c:v>
                </c:pt>
                <c:pt idx="244">
                  <c:v>1</c:v>
                </c:pt>
                <c:pt idx="245">
                  <c:v>1.5</c:v>
                </c:pt>
                <c:pt idx="246">
                  <c:v>1.5</c:v>
                </c:pt>
                <c:pt idx="247">
                  <c:v>2.5</c:v>
                </c:pt>
                <c:pt idx="248">
                  <c:v>3</c:v>
                </c:pt>
                <c:pt idx="249">
                  <c:v>4</c:v>
                </c:pt>
                <c:pt idx="250">
                  <c:v>4</c:v>
                </c:pt>
              </c:numCache>
            </c:numRef>
          </c:val>
          <c:smooth val="0"/>
          <c:extLst>
            <c:ext xmlns:c16="http://schemas.microsoft.com/office/drawing/2014/chart" uri="{C3380CC4-5D6E-409C-BE32-E72D297353CC}">
              <c16:uniqueId val="{00000002-6267-43BA-ABF5-79EB5823EF1F}"/>
            </c:ext>
          </c:extLst>
        </c:ser>
        <c:ser>
          <c:idx val="3"/>
          <c:order val="3"/>
          <c:tx>
            <c:v>ECB</c:v>
          </c:tx>
          <c:spPr>
            <a:ln>
              <a:solidFill>
                <a:srgbClr val="57677B"/>
              </a:solidFill>
            </a:ln>
          </c:spPr>
          <c:marker>
            <c:symbol val="none"/>
          </c:marker>
          <c:cat>
            <c:numRef>
              <c:f>dev_rates!$A$3:$A$253</c:f>
              <c:numCache>
                <c:formatCode>m/d/yyyy</c:formatCode>
                <c:ptCount val="251"/>
                <c:pt idx="0">
                  <c:v>37287</c:v>
                </c:pt>
                <c:pt idx="1">
                  <c:v>37315</c:v>
                </c:pt>
                <c:pt idx="2">
                  <c:v>37344</c:v>
                </c:pt>
                <c:pt idx="3">
                  <c:v>37376</c:v>
                </c:pt>
                <c:pt idx="4">
                  <c:v>37407</c:v>
                </c:pt>
                <c:pt idx="5">
                  <c:v>37435</c:v>
                </c:pt>
                <c:pt idx="6">
                  <c:v>37468</c:v>
                </c:pt>
                <c:pt idx="7">
                  <c:v>37498</c:v>
                </c:pt>
                <c:pt idx="8">
                  <c:v>37529</c:v>
                </c:pt>
                <c:pt idx="9">
                  <c:v>37560</c:v>
                </c:pt>
                <c:pt idx="10">
                  <c:v>37589</c:v>
                </c:pt>
                <c:pt idx="11">
                  <c:v>37621</c:v>
                </c:pt>
                <c:pt idx="12">
                  <c:v>37652</c:v>
                </c:pt>
                <c:pt idx="13">
                  <c:v>37680</c:v>
                </c:pt>
                <c:pt idx="14">
                  <c:v>37711</c:v>
                </c:pt>
                <c:pt idx="15">
                  <c:v>37741</c:v>
                </c:pt>
                <c:pt idx="16">
                  <c:v>37771</c:v>
                </c:pt>
                <c:pt idx="17">
                  <c:v>37802</c:v>
                </c:pt>
                <c:pt idx="18">
                  <c:v>37833</c:v>
                </c:pt>
                <c:pt idx="19">
                  <c:v>37862</c:v>
                </c:pt>
                <c:pt idx="20">
                  <c:v>37894</c:v>
                </c:pt>
                <c:pt idx="21">
                  <c:v>37925</c:v>
                </c:pt>
                <c:pt idx="22">
                  <c:v>37953</c:v>
                </c:pt>
                <c:pt idx="23">
                  <c:v>37986</c:v>
                </c:pt>
                <c:pt idx="24">
                  <c:v>38016</c:v>
                </c:pt>
                <c:pt idx="25">
                  <c:v>38044</c:v>
                </c:pt>
                <c:pt idx="26">
                  <c:v>38077</c:v>
                </c:pt>
                <c:pt idx="27">
                  <c:v>38107</c:v>
                </c:pt>
                <c:pt idx="28">
                  <c:v>38138</c:v>
                </c:pt>
                <c:pt idx="29">
                  <c:v>38168</c:v>
                </c:pt>
                <c:pt idx="30">
                  <c:v>38198</c:v>
                </c:pt>
                <c:pt idx="31">
                  <c:v>38230</c:v>
                </c:pt>
                <c:pt idx="32">
                  <c:v>38260</c:v>
                </c:pt>
                <c:pt idx="33">
                  <c:v>38289</c:v>
                </c:pt>
                <c:pt idx="34">
                  <c:v>38321</c:v>
                </c:pt>
                <c:pt idx="35">
                  <c:v>38352</c:v>
                </c:pt>
                <c:pt idx="36">
                  <c:v>38383</c:v>
                </c:pt>
                <c:pt idx="37">
                  <c:v>38411</c:v>
                </c:pt>
                <c:pt idx="38">
                  <c:v>38442</c:v>
                </c:pt>
                <c:pt idx="39">
                  <c:v>38471</c:v>
                </c:pt>
                <c:pt idx="40">
                  <c:v>38503</c:v>
                </c:pt>
                <c:pt idx="41">
                  <c:v>38533</c:v>
                </c:pt>
                <c:pt idx="42">
                  <c:v>38562</c:v>
                </c:pt>
                <c:pt idx="43">
                  <c:v>38595</c:v>
                </c:pt>
                <c:pt idx="44">
                  <c:v>38625</c:v>
                </c:pt>
                <c:pt idx="45">
                  <c:v>38656</c:v>
                </c:pt>
                <c:pt idx="46">
                  <c:v>38686</c:v>
                </c:pt>
                <c:pt idx="47">
                  <c:v>38716</c:v>
                </c:pt>
                <c:pt idx="48">
                  <c:v>38748</c:v>
                </c:pt>
                <c:pt idx="49">
                  <c:v>38776</c:v>
                </c:pt>
                <c:pt idx="50">
                  <c:v>38807</c:v>
                </c:pt>
                <c:pt idx="51">
                  <c:v>38835</c:v>
                </c:pt>
                <c:pt idx="52">
                  <c:v>38868</c:v>
                </c:pt>
                <c:pt idx="53">
                  <c:v>38898</c:v>
                </c:pt>
                <c:pt idx="54">
                  <c:v>38929</c:v>
                </c:pt>
                <c:pt idx="55">
                  <c:v>38960</c:v>
                </c:pt>
                <c:pt idx="56">
                  <c:v>38989</c:v>
                </c:pt>
                <c:pt idx="57">
                  <c:v>39021</c:v>
                </c:pt>
                <c:pt idx="58">
                  <c:v>39051</c:v>
                </c:pt>
                <c:pt idx="59">
                  <c:v>39080</c:v>
                </c:pt>
                <c:pt idx="60">
                  <c:v>39113</c:v>
                </c:pt>
                <c:pt idx="61">
                  <c:v>39141</c:v>
                </c:pt>
                <c:pt idx="62">
                  <c:v>39171</c:v>
                </c:pt>
                <c:pt idx="63">
                  <c:v>39202</c:v>
                </c:pt>
                <c:pt idx="64">
                  <c:v>39233</c:v>
                </c:pt>
                <c:pt idx="65">
                  <c:v>39262</c:v>
                </c:pt>
                <c:pt idx="66">
                  <c:v>39294</c:v>
                </c:pt>
                <c:pt idx="67">
                  <c:v>39325</c:v>
                </c:pt>
                <c:pt idx="68">
                  <c:v>39353</c:v>
                </c:pt>
                <c:pt idx="69">
                  <c:v>39386</c:v>
                </c:pt>
                <c:pt idx="70">
                  <c:v>39416</c:v>
                </c:pt>
                <c:pt idx="71">
                  <c:v>39447</c:v>
                </c:pt>
                <c:pt idx="72">
                  <c:v>39478</c:v>
                </c:pt>
                <c:pt idx="73">
                  <c:v>39507</c:v>
                </c:pt>
                <c:pt idx="74">
                  <c:v>39538</c:v>
                </c:pt>
                <c:pt idx="75">
                  <c:v>39568</c:v>
                </c:pt>
                <c:pt idx="76">
                  <c:v>39598</c:v>
                </c:pt>
                <c:pt idx="77">
                  <c:v>39629</c:v>
                </c:pt>
                <c:pt idx="78">
                  <c:v>39660</c:v>
                </c:pt>
                <c:pt idx="79">
                  <c:v>39689</c:v>
                </c:pt>
                <c:pt idx="80">
                  <c:v>39721</c:v>
                </c:pt>
                <c:pt idx="81">
                  <c:v>39752</c:v>
                </c:pt>
                <c:pt idx="82">
                  <c:v>39780</c:v>
                </c:pt>
                <c:pt idx="83">
                  <c:v>39813</c:v>
                </c:pt>
                <c:pt idx="84">
                  <c:v>39843</c:v>
                </c:pt>
                <c:pt idx="85">
                  <c:v>39871</c:v>
                </c:pt>
                <c:pt idx="86">
                  <c:v>39903</c:v>
                </c:pt>
                <c:pt idx="87">
                  <c:v>39933</c:v>
                </c:pt>
                <c:pt idx="88">
                  <c:v>39962</c:v>
                </c:pt>
                <c:pt idx="89">
                  <c:v>39994</c:v>
                </c:pt>
                <c:pt idx="90">
                  <c:v>40025</c:v>
                </c:pt>
                <c:pt idx="91">
                  <c:v>40056</c:v>
                </c:pt>
                <c:pt idx="92">
                  <c:v>40086</c:v>
                </c:pt>
                <c:pt idx="93">
                  <c:v>40116</c:v>
                </c:pt>
                <c:pt idx="94">
                  <c:v>40147</c:v>
                </c:pt>
                <c:pt idx="95">
                  <c:v>40178</c:v>
                </c:pt>
                <c:pt idx="96">
                  <c:v>40207</c:v>
                </c:pt>
                <c:pt idx="97">
                  <c:v>40235</c:v>
                </c:pt>
                <c:pt idx="98">
                  <c:v>40268</c:v>
                </c:pt>
                <c:pt idx="99">
                  <c:v>40298</c:v>
                </c:pt>
                <c:pt idx="100">
                  <c:v>40329</c:v>
                </c:pt>
                <c:pt idx="101">
                  <c:v>40359</c:v>
                </c:pt>
                <c:pt idx="102">
                  <c:v>40389</c:v>
                </c:pt>
                <c:pt idx="103">
                  <c:v>40421</c:v>
                </c:pt>
                <c:pt idx="104">
                  <c:v>40451</c:v>
                </c:pt>
                <c:pt idx="105">
                  <c:v>40480</c:v>
                </c:pt>
                <c:pt idx="106">
                  <c:v>40512</c:v>
                </c:pt>
                <c:pt idx="107">
                  <c:v>40543</c:v>
                </c:pt>
                <c:pt idx="108">
                  <c:v>40574</c:v>
                </c:pt>
                <c:pt idx="109">
                  <c:v>40602</c:v>
                </c:pt>
                <c:pt idx="110">
                  <c:v>40633</c:v>
                </c:pt>
                <c:pt idx="111">
                  <c:v>40662</c:v>
                </c:pt>
                <c:pt idx="112">
                  <c:v>40694</c:v>
                </c:pt>
                <c:pt idx="113">
                  <c:v>40724</c:v>
                </c:pt>
                <c:pt idx="114">
                  <c:v>40753</c:v>
                </c:pt>
                <c:pt idx="115">
                  <c:v>40786</c:v>
                </c:pt>
                <c:pt idx="116">
                  <c:v>40816</c:v>
                </c:pt>
                <c:pt idx="117">
                  <c:v>40847</c:v>
                </c:pt>
                <c:pt idx="118">
                  <c:v>40877</c:v>
                </c:pt>
                <c:pt idx="119">
                  <c:v>40907</c:v>
                </c:pt>
                <c:pt idx="120">
                  <c:v>40939</c:v>
                </c:pt>
                <c:pt idx="121">
                  <c:v>40968</c:v>
                </c:pt>
                <c:pt idx="122">
                  <c:v>40998</c:v>
                </c:pt>
                <c:pt idx="123">
                  <c:v>41029</c:v>
                </c:pt>
                <c:pt idx="124">
                  <c:v>41060</c:v>
                </c:pt>
                <c:pt idx="125">
                  <c:v>41089</c:v>
                </c:pt>
                <c:pt idx="126">
                  <c:v>41121</c:v>
                </c:pt>
                <c:pt idx="127">
                  <c:v>41152</c:v>
                </c:pt>
                <c:pt idx="128">
                  <c:v>41180</c:v>
                </c:pt>
                <c:pt idx="129">
                  <c:v>41213</c:v>
                </c:pt>
                <c:pt idx="130">
                  <c:v>41243</c:v>
                </c:pt>
                <c:pt idx="131">
                  <c:v>41274</c:v>
                </c:pt>
                <c:pt idx="132">
                  <c:v>41305</c:v>
                </c:pt>
                <c:pt idx="133">
                  <c:v>41333</c:v>
                </c:pt>
                <c:pt idx="134">
                  <c:v>41362</c:v>
                </c:pt>
                <c:pt idx="135">
                  <c:v>41394</c:v>
                </c:pt>
                <c:pt idx="136">
                  <c:v>41425</c:v>
                </c:pt>
                <c:pt idx="137">
                  <c:v>41453</c:v>
                </c:pt>
                <c:pt idx="138">
                  <c:v>41486</c:v>
                </c:pt>
                <c:pt idx="139">
                  <c:v>41516</c:v>
                </c:pt>
                <c:pt idx="140">
                  <c:v>41547</c:v>
                </c:pt>
                <c:pt idx="141">
                  <c:v>41578</c:v>
                </c:pt>
                <c:pt idx="142">
                  <c:v>41607</c:v>
                </c:pt>
                <c:pt idx="143">
                  <c:v>41639</c:v>
                </c:pt>
                <c:pt idx="144">
                  <c:v>41670</c:v>
                </c:pt>
                <c:pt idx="145">
                  <c:v>41698</c:v>
                </c:pt>
                <c:pt idx="146">
                  <c:v>41729</c:v>
                </c:pt>
                <c:pt idx="147">
                  <c:v>41759</c:v>
                </c:pt>
                <c:pt idx="148">
                  <c:v>41789</c:v>
                </c:pt>
                <c:pt idx="149">
                  <c:v>41820</c:v>
                </c:pt>
                <c:pt idx="150">
                  <c:v>41851</c:v>
                </c:pt>
                <c:pt idx="151">
                  <c:v>41880</c:v>
                </c:pt>
                <c:pt idx="152">
                  <c:v>41912</c:v>
                </c:pt>
                <c:pt idx="153">
                  <c:v>41943</c:v>
                </c:pt>
                <c:pt idx="154">
                  <c:v>41971</c:v>
                </c:pt>
                <c:pt idx="155">
                  <c:v>42004</c:v>
                </c:pt>
                <c:pt idx="156">
                  <c:v>42034</c:v>
                </c:pt>
                <c:pt idx="157">
                  <c:v>42062</c:v>
                </c:pt>
                <c:pt idx="158">
                  <c:v>42094</c:v>
                </c:pt>
                <c:pt idx="159">
                  <c:v>42124</c:v>
                </c:pt>
                <c:pt idx="160">
                  <c:v>42153</c:v>
                </c:pt>
                <c:pt idx="161">
                  <c:v>42185</c:v>
                </c:pt>
                <c:pt idx="162">
                  <c:v>42216</c:v>
                </c:pt>
                <c:pt idx="163">
                  <c:v>42247</c:v>
                </c:pt>
                <c:pt idx="164">
                  <c:v>42277</c:v>
                </c:pt>
                <c:pt idx="165">
                  <c:v>42307</c:v>
                </c:pt>
                <c:pt idx="166">
                  <c:v>42338</c:v>
                </c:pt>
                <c:pt idx="167">
                  <c:v>42369</c:v>
                </c:pt>
                <c:pt idx="168">
                  <c:v>42398</c:v>
                </c:pt>
                <c:pt idx="169">
                  <c:v>42429</c:v>
                </c:pt>
                <c:pt idx="170">
                  <c:v>42460</c:v>
                </c:pt>
                <c:pt idx="171">
                  <c:v>42489</c:v>
                </c:pt>
                <c:pt idx="172">
                  <c:v>42521</c:v>
                </c:pt>
                <c:pt idx="173">
                  <c:v>42551</c:v>
                </c:pt>
                <c:pt idx="174">
                  <c:v>42580</c:v>
                </c:pt>
                <c:pt idx="175">
                  <c:v>42613</c:v>
                </c:pt>
                <c:pt idx="176">
                  <c:v>42643</c:v>
                </c:pt>
                <c:pt idx="177">
                  <c:v>42674</c:v>
                </c:pt>
                <c:pt idx="178">
                  <c:v>42704</c:v>
                </c:pt>
                <c:pt idx="179">
                  <c:v>42734</c:v>
                </c:pt>
                <c:pt idx="180">
                  <c:v>42766</c:v>
                </c:pt>
                <c:pt idx="181">
                  <c:v>42794</c:v>
                </c:pt>
                <c:pt idx="182">
                  <c:v>42825</c:v>
                </c:pt>
                <c:pt idx="183">
                  <c:v>42853</c:v>
                </c:pt>
                <c:pt idx="184">
                  <c:v>42886</c:v>
                </c:pt>
                <c:pt idx="185">
                  <c:v>42916</c:v>
                </c:pt>
                <c:pt idx="186">
                  <c:v>42947</c:v>
                </c:pt>
                <c:pt idx="187">
                  <c:v>42978</c:v>
                </c:pt>
                <c:pt idx="188">
                  <c:v>43007</c:v>
                </c:pt>
                <c:pt idx="189">
                  <c:v>43039</c:v>
                </c:pt>
                <c:pt idx="190">
                  <c:v>43069</c:v>
                </c:pt>
                <c:pt idx="191">
                  <c:v>43098</c:v>
                </c:pt>
                <c:pt idx="192">
                  <c:v>43131</c:v>
                </c:pt>
                <c:pt idx="193">
                  <c:v>43159</c:v>
                </c:pt>
                <c:pt idx="194">
                  <c:v>43189</c:v>
                </c:pt>
                <c:pt idx="195">
                  <c:v>43220</c:v>
                </c:pt>
                <c:pt idx="196">
                  <c:v>43251</c:v>
                </c:pt>
                <c:pt idx="197">
                  <c:v>43280</c:v>
                </c:pt>
                <c:pt idx="198">
                  <c:v>43312</c:v>
                </c:pt>
                <c:pt idx="199">
                  <c:v>43343</c:v>
                </c:pt>
                <c:pt idx="200">
                  <c:v>43371</c:v>
                </c:pt>
                <c:pt idx="201">
                  <c:v>43404</c:v>
                </c:pt>
                <c:pt idx="202">
                  <c:v>43434</c:v>
                </c:pt>
                <c:pt idx="203">
                  <c:v>43465</c:v>
                </c:pt>
                <c:pt idx="204">
                  <c:v>43496</c:v>
                </c:pt>
                <c:pt idx="205">
                  <c:v>43524</c:v>
                </c:pt>
                <c:pt idx="206">
                  <c:v>43553</c:v>
                </c:pt>
                <c:pt idx="207">
                  <c:v>43585</c:v>
                </c:pt>
                <c:pt idx="208">
                  <c:v>43616</c:v>
                </c:pt>
                <c:pt idx="209">
                  <c:v>43644</c:v>
                </c:pt>
                <c:pt idx="210">
                  <c:v>43677</c:v>
                </c:pt>
                <c:pt idx="211">
                  <c:v>43707</c:v>
                </c:pt>
                <c:pt idx="212">
                  <c:v>43738</c:v>
                </c:pt>
                <c:pt idx="213">
                  <c:v>43769</c:v>
                </c:pt>
                <c:pt idx="214">
                  <c:v>43798</c:v>
                </c:pt>
                <c:pt idx="215">
                  <c:v>43830</c:v>
                </c:pt>
                <c:pt idx="216">
                  <c:v>43861</c:v>
                </c:pt>
                <c:pt idx="217">
                  <c:v>43889</c:v>
                </c:pt>
                <c:pt idx="218">
                  <c:v>43921</c:v>
                </c:pt>
                <c:pt idx="219">
                  <c:v>43951</c:v>
                </c:pt>
                <c:pt idx="220">
                  <c:v>43980</c:v>
                </c:pt>
                <c:pt idx="221">
                  <c:v>44012</c:v>
                </c:pt>
                <c:pt idx="222">
                  <c:v>44043</c:v>
                </c:pt>
                <c:pt idx="223">
                  <c:v>44074</c:v>
                </c:pt>
                <c:pt idx="224">
                  <c:v>44104</c:v>
                </c:pt>
                <c:pt idx="225">
                  <c:v>44134</c:v>
                </c:pt>
                <c:pt idx="226">
                  <c:v>44165</c:v>
                </c:pt>
                <c:pt idx="227">
                  <c:v>44196</c:v>
                </c:pt>
                <c:pt idx="228">
                  <c:v>44225</c:v>
                </c:pt>
                <c:pt idx="229">
                  <c:v>44253</c:v>
                </c:pt>
                <c:pt idx="230">
                  <c:v>44286</c:v>
                </c:pt>
                <c:pt idx="231">
                  <c:v>44316</c:v>
                </c:pt>
                <c:pt idx="232">
                  <c:v>44347</c:v>
                </c:pt>
                <c:pt idx="233">
                  <c:v>44377</c:v>
                </c:pt>
                <c:pt idx="234">
                  <c:v>44407</c:v>
                </c:pt>
                <c:pt idx="235">
                  <c:v>44439</c:v>
                </c:pt>
                <c:pt idx="236">
                  <c:v>44469</c:v>
                </c:pt>
                <c:pt idx="237">
                  <c:v>44498</c:v>
                </c:pt>
                <c:pt idx="238">
                  <c:v>44530</c:v>
                </c:pt>
                <c:pt idx="239">
                  <c:v>44561</c:v>
                </c:pt>
                <c:pt idx="240">
                  <c:v>44592</c:v>
                </c:pt>
                <c:pt idx="241">
                  <c:v>44620</c:v>
                </c:pt>
                <c:pt idx="242">
                  <c:v>44651</c:v>
                </c:pt>
                <c:pt idx="243">
                  <c:v>44681</c:v>
                </c:pt>
                <c:pt idx="244">
                  <c:v>44712</c:v>
                </c:pt>
                <c:pt idx="245">
                  <c:v>44742</c:v>
                </c:pt>
                <c:pt idx="246">
                  <c:v>44773</c:v>
                </c:pt>
                <c:pt idx="247">
                  <c:v>44804</c:v>
                </c:pt>
                <c:pt idx="248">
                  <c:v>44834</c:v>
                </c:pt>
                <c:pt idx="249">
                  <c:v>44865</c:v>
                </c:pt>
                <c:pt idx="250">
                  <c:v>44895</c:v>
                </c:pt>
              </c:numCache>
            </c:numRef>
          </c:cat>
          <c:val>
            <c:numRef>
              <c:f>dev_rates!$E$3:$E$253</c:f>
              <c:numCache>
                <c:formatCode>General</c:formatCode>
                <c:ptCount val="251"/>
                <c:pt idx="0">
                  <c:v>3.25</c:v>
                </c:pt>
                <c:pt idx="1">
                  <c:v>3.25</c:v>
                </c:pt>
                <c:pt idx="2">
                  <c:v>3.25</c:v>
                </c:pt>
                <c:pt idx="3">
                  <c:v>3.25</c:v>
                </c:pt>
                <c:pt idx="4">
                  <c:v>3.25</c:v>
                </c:pt>
                <c:pt idx="5">
                  <c:v>3.25</c:v>
                </c:pt>
                <c:pt idx="6">
                  <c:v>3.25</c:v>
                </c:pt>
                <c:pt idx="7">
                  <c:v>3.25</c:v>
                </c:pt>
                <c:pt idx="8">
                  <c:v>3.25</c:v>
                </c:pt>
                <c:pt idx="9">
                  <c:v>3.25</c:v>
                </c:pt>
                <c:pt idx="10">
                  <c:v>3.25</c:v>
                </c:pt>
                <c:pt idx="11">
                  <c:v>2.75</c:v>
                </c:pt>
                <c:pt idx="12">
                  <c:v>2.75</c:v>
                </c:pt>
                <c:pt idx="13">
                  <c:v>2.75</c:v>
                </c:pt>
                <c:pt idx="14">
                  <c:v>2.5</c:v>
                </c:pt>
                <c:pt idx="15">
                  <c:v>2.5</c:v>
                </c:pt>
                <c:pt idx="16">
                  <c:v>2.5</c:v>
                </c:pt>
                <c:pt idx="17">
                  <c:v>2</c:v>
                </c:pt>
                <c:pt idx="18">
                  <c:v>2</c:v>
                </c:pt>
                <c:pt idx="19">
                  <c:v>2</c:v>
                </c:pt>
                <c:pt idx="20">
                  <c:v>2</c:v>
                </c:pt>
                <c:pt idx="21">
                  <c:v>2</c:v>
                </c:pt>
                <c:pt idx="22">
                  <c:v>2</c:v>
                </c:pt>
                <c:pt idx="23">
                  <c:v>2</c:v>
                </c:pt>
                <c:pt idx="24">
                  <c:v>2</c:v>
                </c:pt>
                <c:pt idx="25">
                  <c:v>2</c:v>
                </c:pt>
                <c:pt idx="26">
                  <c:v>2</c:v>
                </c:pt>
                <c:pt idx="27">
                  <c:v>2</c:v>
                </c:pt>
                <c:pt idx="28">
                  <c:v>2</c:v>
                </c:pt>
                <c:pt idx="29">
                  <c:v>2</c:v>
                </c:pt>
                <c:pt idx="30">
                  <c:v>2</c:v>
                </c:pt>
                <c:pt idx="31">
                  <c:v>2</c:v>
                </c:pt>
                <c:pt idx="32">
                  <c:v>2</c:v>
                </c:pt>
                <c:pt idx="33">
                  <c:v>2</c:v>
                </c:pt>
                <c:pt idx="34">
                  <c:v>2</c:v>
                </c:pt>
                <c:pt idx="35">
                  <c:v>2</c:v>
                </c:pt>
                <c:pt idx="36">
                  <c:v>2</c:v>
                </c:pt>
                <c:pt idx="37">
                  <c:v>2</c:v>
                </c:pt>
                <c:pt idx="38">
                  <c:v>2</c:v>
                </c:pt>
                <c:pt idx="39">
                  <c:v>2</c:v>
                </c:pt>
                <c:pt idx="40">
                  <c:v>2</c:v>
                </c:pt>
                <c:pt idx="41">
                  <c:v>2</c:v>
                </c:pt>
                <c:pt idx="42">
                  <c:v>2</c:v>
                </c:pt>
                <c:pt idx="43">
                  <c:v>2</c:v>
                </c:pt>
                <c:pt idx="44">
                  <c:v>2</c:v>
                </c:pt>
                <c:pt idx="45">
                  <c:v>2</c:v>
                </c:pt>
                <c:pt idx="46">
                  <c:v>2</c:v>
                </c:pt>
                <c:pt idx="47">
                  <c:v>2.25</c:v>
                </c:pt>
                <c:pt idx="48">
                  <c:v>2.25</c:v>
                </c:pt>
                <c:pt idx="49">
                  <c:v>2.25</c:v>
                </c:pt>
                <c:pt idx="50">
                  <c:v>2.5</c:v>
                </c:pt>
                <c:pt idx="51">
                  <c:v>2.5</c:v>
                </c:pt>
                <c:pt idx="52">
                  <c:v>2.5</c:v>
                </c:pt>
                <c:pt idx="53">
                  <c:v>2.75</c:v>
                </c:pt>
                <c:pt idx="54">
                  <c:v>2.75</c:v>
                </c:pt>
                <c:pt idx="55">
                  <c:v>3</c:v>
                </c:pt>
                <c:pt idx="56">
                  <c:v>3</c:v>
                </c:pt>
                <c:pt idx="57">
                  <c:v>3.25</c:v>
                </c:pt>
                <c:pt idx="58">
                  <c:v>3.25</c:v>
                </c:pt>
                <c:pt idx="59">
                  <c:v>3.5</c:v>
                </c:pt>
                <c:pt idx="60">
                  <c:v>3.5</c:v>
                </c:pt>
                <c:pt idx="61">
                  <c:v>3.5</c:v>
                </c:pt>
                <c:pt idx="62">
                  <c:v>3.75</c:v>
                </c:pt>
                <c:pt idx="63">
                  <c:v>3.75</c:v>
                </c:pt>
                <c:pt idx="64">
                  <c:v>3.75</c:v>
                </c:pt>
                <c:pt idx="65">
                  <c:v>4</c:v>
                </c:pt>
                <c:pt idx="66">
                  <c:v>4</c:v>
                </c:pt>
                <c:pt idx="67">
                  <c:v>4</c:v>
                </c:pt>
                <c:pt idx="68">
                  <c:v>4</c:v>
                </c:pt>
                <c:pt idx="69">
                  <c:v>4</c:v>
                </c:pt>
                <c:pt idx="70">
                  <c:v>4</c:v>
                </c:pt>
                <c:pt idx="71">
                  <c:v>4</c:v>
                </c:pt>
                <c:pt idx="72">
                  <c:v>4</c:v>
                </c:pt>
                <c:pt idx="73">
                  <c:v>4</c:v>
                </c:pt>
                <c:pt idx="74">
                  <c:v>4</c:v>
                </c:pt>
                <c:pt idx="75">
                  <c:v>4</c:v>
                </c:pt>
                <c:pt idx="76">
                  <c:v>4</c:v>
                </c:pt>
                <c:pt idx="77">
                  <c:v>4</c:v>
                </c:pt>
                <c:pt idx="78">
                  <c:v>4.25</c:v>
                </c:pt>
                <c:pt idx="79">
                  <c:v>4.25</c:v>
                </c:pt>
                <c:pt idx="80">
                  <c:v>4.25</c:v>
                </c:pt>
                <c:pt idx="81">
                  <c:v>3.75</c:v>
                </c:pt>
                <c:pt idx="82">
                  <c:v>3.25</c:v>
                </c:pt>
                <c:pt idx="83">
                  <c:v>2.5</c:v>
                </c:pt>
                <c:pt idx="84">
                  <c:v>2</c:v>
                </c:pt>
                <c:pt idx="85">
                  <c:v>2</c:v>
                </c:pt>
                <c:pt idx="86">
                  <c:v>1.5</c:v>
                </c:pt>
                <c:pt idx="87">
                  <c:v>1.25</c:v>
                </c:pt>
                <c:pt idx="88">
                  <c:v>1</c:v>
                </c:pt>
                <c:pt idx="89">
                  <c:v>1</c:v>
                </c:pt>
                <c:pt idx="90">
                  <c:v>1</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1</c:v>
                </c:pt>
                <c:pt idx="108">
                  <c:v>1</c:v>
                </c:pt>
                <c:pt idx="109">
                  <c:v>1</c:v>
                </c:pt>
                <c:pt idx="110">
                  <c:v>1</c:v>
                </c:pt>
                <c:pt idx="111">
                  <c:v>1.25</c:v>
                </c:pt>
                <c:pt idx="112">
                  <c:v>1.25</c:v>
                </c:pt>
                <c:pt idx="113">
                  <c:v>1.25</c:v>
                </c:pt>
                <c:pt idx="114">
                  <c:v>1.5</c:v>
                </c:pt>
                <c:pt idx="115">
                  <c:v>1.5</c:v>
                </c:pt>
                <c:pt idx="116">
                  <c:v>1.5</c:v>
                </c:pt>
                <c:pt idx="117">
                  <c:v>1.5</c:v>
                </c:pt>
                <c:pt idx="118">
                  <c:v>1.25</c:v>
                </c:pt>
                <c:pt idx="119">
                  <c:v>1</c:v>
                </c:pt>
                <c:pt idx="120">
                  <c:v>1</c:v>
                </c:pt>
                <c:pt idx="121">
                  <c:v>1</c:v>
                </c:pt>
                <c:pt idx="122">
                  <c:v>1</c:v>
                </c:pt>
                <c:pt idx="123">
                  <c:v>1</c:v>
                </c:pt>
                <c:pt idx="124">
                  <c:v>1</c:v>
                </c:pt>
                <c:pt idx="125">
                  <c:v>1</c:v>
                </c:pt>
                <c:pt idx="126">
                  <c:v>0.75</c:v>
                </c:pt>
                <c:pt idx="127">
                  <c:v>0.75</c:v>
                </c:pt>
                <c:pt idx="128">
                  <c:v>0.75</c:v>
                </c:pt>
                <c:pt idx="129">
                  <c:v>0.75</c:v>
                </c:pt>
                <c:pt idx="130">
                  <c:v>0.75</c:v>
                </c:pt>
                <c:pt idx="131">
                  <c:v>0.75</c:v>
                </c:pt>
                <c:pt idx="132">
                  <c:v>0.75</c:v>
                </c:pt>
                <c:pt idx="133">
                  <c:v>0.75</c:v>
                </c:pt>
                <c:pt idx="134">
                  <c:v>0.75</c:v>
                </c:pt>
                <c:pt idx="135">
                  <c:v>0.75</c:v>
                </c:pt>
                <c:pt idx="136">
                  <c:v>0.5</c:v>
                </c:pt>
                <c:pt idx="137">
                  <c:v>0.5</c:v>
                </c:pt>
                <c:pt idx="138">
                  <c:v>0.5</c:v>
                </c:pt>
                <c:pt idx="139">
                  <c:v>0.5</c:v>
                </c:pt>
                <c:pt idx="140">
                  <c:v>0.5</c:v>
                </c:pt>
                <c:pt idx="141">
                  <c:v>0.5</c:v>
                </c:pt>
                <c:pt idx="142">
                  <c:v>0.25</c:v>
                </c:pt>
                <c:pt idx="143">
                  <c:v>0.25</c:v>
                </c:pt>
                <c:pt idx="144">
                  <c:v>0.25</c:v>
                </c:pt>
                <c:pt idx="145">
                  <c:v>0.25</c:v>
                </c:pt>
                <c:pt idx="146">
                  <c:v>0.25</c:v>
                </c:pt>
                <c:pt idx="147">
                  <c:v>0.25</c:v>
                </c:pt>
                <c:pt idx="148">
                  <c:v>0.25</c:v>
                </c:pt>
                <c:pt idx="149">
                  <c:v>0.15</c:v>
                </c:pt>
                <c:pt idx="150">
                  <c:v>0.15</c:v>
                </c:pt>
                <c:pt idx="151">
                  <c:v>0.15</c:v>
                </c:pt>
                <c:pt idx="152">
                  <c:v>0.05</c:v>
                </c:pt>
                <c:pt idx="153">
                  <c:v>0.05</c:v>
                </c:pt>
                <c:pt idx="154">
                  <c:v>0.05</c:v>
                </c:pt>
                <c:pt idx="155">
                  <c:v>0.05</c:v>
                </c:pt>
                <c:pt idx="156">
                  <c:v>0.05</c:v>
                </c:pt>
                <c:pt idx="157">
                  <c:v>0.05</c:v>
                </c:pt>
                <c:pt idx="158">
                  <c:v>0.05</c:v>
                </c:pt>
                <c:pt idx="159">
                  <c:v>0.05</c:v>
                </c:pt>
                <c:pt idx="160">
                  <c:v>0.05</c:v>
                </c:pt>
                <c:pt idx="161">
                  <c:v>0.05</c:v>
                </c:pt>
                <c:pt idx="162">
                  <c:v>0.05</c:v>
                </c:pt>
                <c:pt idx="163">
                  <c:v>0.05</c:v>
                </c:pt>
                <c:pt idx="164">
                  <c:v>0.05</c:v>
                </c:pt>
                <c:pt idx="165">
                  <c:v>0.05</c:v>
                </c:pt>
                <c:pt idx="166">
                  <c:v>0.05</c:v>
                </c:pt>
                <c:pt idx="167">
                  <c:v>0.05</c:v>
                </c:pt>
                <c:pt idx="168">
                  <c:v>0.05</c:v>
                </c:pt>
                <c:pt idx="169">
                  <c:v>0.05</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66</c:v>
                </c:pt>
                <c:pt idx="248">
                  <c:v>0.66</c:v>
                </c:pt>
                <c:pt idx="249">
                  <c:v>1.4</c:v>
                </c:pt>
                <c:pt idx="250">
                  <c:v>1.4</c:v>
                </c:pt>
              </c:numCache>
            </c:numRef>
          </c:val>
          <c:smooth val="0"/>
          <c:extLst>
            <c:ext xmlns:c16="http://schemas.microsoft.com/office/drawing/2014/chart" uri="{C3380CC4-5D6E-409C-BE32-E72D297353CC}">
              <c16:uniqueId val="{00000003-6267-43BA-ABF5-79EB5823EF1F}"/>
            </c:ext>
          </c:extLst>
        </c:ser>
        <c:dLbls>
          <c:showLegendKey val="0"/>
          <c:showVal val="0"/>
          <c:showCatName val="0"/>
          <c:showSerName val="0"/>
          <c:showPercent val="0"/>
          <c:showBubbleSize val="0"/>
        </c:dLbls>
        <c:smooth val="0"/>
        <c:axId val="554185856"/>
        <c:axId val="554187392"/>
      </c:lineChart>
      <c:dateAx>
        <c:axId val="554185856"/>
        <c:scaling>
          <c:orientation val="minMax"/>
        </c:scaling>
        <c:delete val="0"/>
        <c:axPos val="b"/>
        <c:numFmt formatCode="yyyy" sourceLinked="0"/>
        <c:majorTickMark val="out"/>
        <c:minorTickMark val="none"/>
        <c:tickLblPos val="nextTo"/>
        <c:crossAx val="554187392"/>
        <c:crossesAt val="0"/>
        <c:auto val="1"/>
        <c:lblOffset val="0"/>
        <c:baseTimeUnit val="months"/>
        <c:majorUnit val="2"/>
        <c:majorTimeUnit val="years"/>
      </c:dateAx>
      <c:valAx>
        <c:axId val="554187392"/>
        <c:scaling>
          <c:orientation val="minMax"/>
          <c:max val="6"/>
        </c:scaling>
        <c:delete val="0"/>
        <c:axPos val="l"/>
        <c:title>
          <c:tx>
            <c:rich>
              <a:bodyPr rot="0" vert="horz"/>
              <a:lstStyle/>
              <a:p>
                <a:pPr>
                  <a:defRPr/>
                </a:pPr>
                <a:r>
                  <a:rPr lang="ru-RU"/>
                  <a:t>%</a:t>
                </a:r>
              </a:p>
            </c:rich>
          </c:tx>
          <c:layout>
            <c:manualLayout>
              <c:xMode val="edge"/>
              <c:yMode val="edge"/>
              <c:x val="6.386933840369792E-2"/>
              <c:y val="2.9617856849508739E-2"/>
            </c:manualLayout>
          </c:layout>
          <c:overlay val="0"/>
        </c:title>
        <c:numFmt formatCode="General" sourceLinked="1"/>
        <c:majorTickMark val="out"/>
        <c:minorTickMark val="none"/>
        <c:tickLblPos val="nextTo"/>
        <c:crossAx val="554185856"/>
        <c:crosses val="autoZero"/>
        <c:crossBetween val="between"/>
      </c:valAx>
    </c:plotArea>
    <c:legend>
      <c:legendPos val="r"/>
      <c:layout>
        <c:manualLayout>
          <c:xMode val="edge"/>
          <c:yMode val="edge"/>
          <c:x val="0.69992448133830631"/>
          <c:y val="4.5164564735553164E-2"/>
          <c:w val="0.2119597982793297"/>
          <c:h val="0.41080257448676455"/>
        </c:manualLayout>
      </c:layout>
      <c:overlay val="0"/>
    </c:legend>
    <c:plotVisOnly val="1"/>
    <c:dispBlanksAs val="gap"/>
    <c:showDLblsOverMax val="0"/>
  </c:chart>
  <c:spPr>
    <a:ln>
      <a:noFill/>
    </a:ln>
  </c:spPr>
  <c:txPr>
    <a:bodyPr/>
    <a:lstStyle/>
    <a:p>
      <a:pPr>
        <a:defRPr sz="1200">
          <a:solidFill>
            <a:sysClr val="windowText" lastClr="000000"/>
          </a:solidFill>
          <a:latin typeface="Arial" pitchFamily="34" charset="0"/>
          <a:ea typeface="Segoe UI" pitchFamily="34" charset="0"/>
          <a:cs typeface="Arial" pitchFamily="34" charset="0"/>
        </a:defRPr>
      </a:pPr>
      <a:endParaRPr lang="ru-RU"/>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19325735992403E-2"/>
          <c:y val="3.6598200312989049E-2"/>
          <c:w val="0.91778656220322885"/>
          <c:h val="0.89994315345584508"/>
        </c:manualLayout>
      </c:layout>
      <c:lineChart>
        <c:grouping val="standard"/>
        <c:varyColors val="0"/>
        <c:ser>
          <c:idx val="0"/>
          <c:order val="0"/>
          <c:tx>
            <c:strRef>
              <c:f>gdp!$C$2</c:f>
              <c:strCache>
                <c:ptCount val="1"/>
                <c:pt idx="0">
                  <c:v>Japan</c:v>
                </c:pt>
              </c:strCache>
            </c:strRef>
          </c:tx>
          <c:spPr>
            <a:ln w="25400">
              <a:solidFill>
                <a:srgbClr val="C00000"/>
              </a:solidFill>
              <a:prstDash val="solid"/>
            </a:ln>
          </c:spPr>
          <c:marker>
            <c:symbol val="none"/>
          </c:marker>
          <c:cat>
            <c:multiLvlStrRef>
              <c:f>gdp!$A$3:$B$50</c:f>
              <c:multiLvlStrCache>
                <c:ptCount val="47"/>
                <c:lvl>
                  <c:pt idx="46">
                    <c:v> </c:v>
                  </c:pt>
                </c:lvl>
                <c:lvl>
                  <c:pt idx="0">
                    <c:v>2012</c:v>
                  </c:pt>
                  <c:pt idx="4">
                    <c:v>2013</c:v>
                  </c:pt>
                  <c:pt idx="8">
                    <c:v>2014</c:v>
                  </c:pt>
                  <c:pt idx="12">
                    <c:v>2015</c:v>
                  </c:pt>
                  <c:pt idx="16">
                    <c:v>2016</c:v>
                  </c:pt>
                  <c:pt idx="20">
                    <c:v>2017</c:v>
                  </c:pt>
                  <c:pt idx="24">
                    <c:v>2018</c:v>
                  </c:pt>
                  <c:pt idx="28">
                    <c:v>2019</c:v>
                  </c:pt>
                  <c:pt idx="32">
                    <c:v>2020</c:v>
                  </c:pt>
                  <c:pt idx="36">
                    <c:v>2021</c:v>
                  </c:pt>
                  <c:pt idx="40">
                    <c:v>2022</c:v>
                  </c:pt>
                  <c:pt idx="44">
                    <c:v>2023</c:v>
                  </c:pt>
                </c:lvl>
              </c:multiLvlStrCache>
            </c:multiLvlStrRef>
          </c:cat>
          <c:val>
            <c:numRef>
              <c:f>gdp!$C$3:$C$49</c:f>
              <c:numCache>
                <c:formatCode>0.0</c:formatCode>
                <c:ptCount val="47"/>
                <c:pt idx="0">
                  <c:v>2.8122676214270399</c:v>
                </c:pt>
                <c:pt idx="1">
                  <c:v>2.7569565470225701</c:v>
                </c:pt>
                <c:pt idx="2">
                  <c:v>-4.8033643314054998E-2</c:v>
                </c:pt>
                <c:pt idx="3">
                  <c:v>1.3501837297429001E-2</c:v>
                </c:pt>
                <c:pt idx="4">
                  <c:v>-9.2800658827319991E-3</c:v>
                </c:pt>
                <c:pt idx="5">
                  <c:v>1.8410460619800799</c:v>
                </c:pt>
                <c:pt idx="6">
                  <c:v>3.2111935146875399</c:v>
                </c:pt>
                <c:pt idx="7">
                  <c:v>3.1509732230314902</c:v>
                </c:pt>
                <c:pt idx="8">
                  <c:v>2.56915199690151</c:v>
                </c:pt>
                <c:pt idx="9">
                  <c:v>-0.16886804547755099</c:v>
                </c:pt>
                <c:pt idx="10">
                  <c:v>-1.0403941597284501</c:v>
                </c:pt>
                <c:pt idx="11">
                  <c:v>-0.465024445280178</c:v>
                </c:pt>
                <c:pt idx="12">
                  <c:v>0.26608064993678299</c:v>
                </c:pt>
                <c:pt idx="13">
                  <c:v>2.2603599037359099</c:v>
                </c:pt>
                <c:pt idx="14">
                  <c:v>2.2541615231258199</c:v>
                </c:pt>
                <c:pt idx="15">
                  <c:v>1.6221163855235201</c:v>
                </c:pt>
                <c:pt idx="16">
                  <c:v>0.82239685197546197</c:v>
                </c:pt>
                <c:pt idx="17">
                  <c:v>0.51604786623551002</c:v>
                </c:pt>
                <c:pt idx="18">
                  <c:v>0.61624015547069499</c:v>
                </c:pt>
                <c:pt idx="19">
                  <c:v>0.94109961586745405</c:v>
                </c:pt>
                <c:pt idx="20">
                  <c:v>0.99586803627356202</c:v>
                </c:pt>
                <c:pt idx="21">
                  <c:v>1.51888547912881</c:v>
                </c:pt>
                <c:pt idx="22">
                  <c:v>2.1701954172055</c:v>
                </c:pt>
                <c:pt idx="23">
                  <c:v>2.13418429852095</c:v>
                </c:pt>
                <c:pt idx="24">
                  <c:v>1.4135167977779799</c:v>
                </c:pt>
                <c:pt idx="25">
                  <c:v>1.3700680145783699</c:v>
                </c:pt>
                <c:pt idx="26">
                  <c:v>1.4318343911102E-2</c:v>
                </c:pt>
                <c:pt idx="27">
                  <c:v>-0.25026881492602099</c:v>
                </c:pt>
                <c:pt idx="28">
                  <c:v>-0.11558966767114399</c:v>
                </c:pt>
                <c:pt idx="29">
                  <c:v>-0.102693080232075</c:v>
                </c:pt>
                <c:pt idx="30">
                  <c:v>0.637770138810275</c:v>
                </c:pt>
                <c:pt idx="31">
                  <c:v>-2.0000151850460699</c:v>
                </c:pt>
                <c:pt idx="32">
                  <c:v>-1.81688494168462</c:v>
                </c:pt>
                <c:pt idx="33">
                  <c:v>-9.8733264657077093</c:v>
                </c:pt>
                <c:pt idx="34">
                  <c:v>-4.95171738299784</c:v>
                </c:pt>
                <c:pt idx="35">
                  <c:v>-0.41072678312717698</c:v>
                </c:pt>
                <c:pt idx="36">
                  <c:v>-1.0626765676858501</c:v>
                </c:pt>
                <c:pt idx="37">
                  <c:v>7.9441978814488099</c:v>
                </c:pt>
                <c:pt idx="38">
                  <c:v>1.83842860858237</c:v>
                </c:pt>
                <c:pt idx="39">
                  <c:v>0.97222448607630096</c:v>
                </c:pt>
                <c:pt idx="40">
                  <c:v>0.58070499480578996</c:v>
                </c:pt>
                <c:pt idx="41">
                  <c:v>1.2529851348921599</c:v>
                </c:pt>
                <c:pt idx="42">
                  <c:v>1.4526174394154301</c:v>
                </c:pt>
                <c:pt idx="43">
                  <c:v>0.357012810599937</c:v>
                </c:pt>
                <c:pt idx="44">
                  <c:v>1.92474147468363</c:v>
                </c:pt>
                <c:pt idx="45">
                  <c:v>1.85454047040801</c:v>
                </c:pt>
                <c:pt idx="46">
                  <c:v>1.3991929819497599</c:v>
                </c:pt>
              </c:numCache>
            </c:numRef>
          </c:val>
          <c:smooth val="0"/>
          <c:extLst>
            <c:ext xmlns:c16="http://schemas.microsoft.com/office/drawing/2014/chart" uri="{C3380CC4-5D6E-409C-BE32-E72D297353CC}">
              <c16:uniqueId val="{00000000-4A4F-4056-A325-B04C51EE1D5E}"/>
            </c:ext>
          </c:extLst>
        </c:ser>
        <c:ser>
          <c:idx val="1"/>
          <c:order val="1"/>
          <c:tx>
            <c:strRef>
              <c:f>gdp!$D$2</c:f>
              <c:strCache>
                <c:ptCount val="1"/>
                <c:pt idx="0">
                  <c:v>EU </c:v>
                </c:pt>
              </c:strCache>
            </c:strRef>
          </c:tx>
          <c:spPr>
            <a:ln w="25400">
              <a:solidFill>
                <a:srgbClr val="539FDE"/>
              </a:solidFill>
              <a:prstDash val="solid"/>
            </a:ln>
          </c:spPr>
          <c:marker>
            <c:symbol val="none"/>
          </c:marker>
          <c:cat>
            <c:multiLvlStrRef>
              <c:f>gdp!$A$3:$B$50</c:f>
              <c:multiLvlStrCache>
                <c:ptCount val="47"/>
                <c:lvl>
                  <c:pt idx="46">
                    <c:v> </c:v>
                  </c:pt>
                </c:lvl>
                <c:lvl>
                  <c:pt idx="0">
                    <c:v>2012</c:v>
                  </c:pt>
                  <c:pt idx="4">
                    <c:v>2013</c:v>
                  </c:pt>
                  <c:pt idx="8">
                    <c:v>2014</c:v>
                  </c:pt>
                  <c:pt idx="12">
                    <c:v>2015</c:v>
                  </c:pt>
                  <c:pt idx="16">
                    <c:v>2016</c:v>
                  </c:pt>
                  <c:pt idx="20">
                    <c:v>2017</c:v>
                  </c:pt>
                  <c:pt idx="24">
                    <c:v>2018</c:v>
                  </c:pt>
                  <c:pt idx="28">
                    <c:v>2019</c:v>
                  </c:pt>
                  <c:pt idx="32">
                    <c:v>2020</c:v>
                  </c:pt>
                  <c:pt idx="36">
                    <c:v>2021</c:v>
                  </c:pt>
                  <c:pt idx="40">
                    <c:v>2022</c:v>
                  </c:pt>
                  <c:pt idx="44">
                    <c:v>2023</c:v>
                  </c:pt>
                </c:lvl>
              </c:multiLvlStrCache>
            </c:multiLvlStrRef>
          </c:cat>
          <c:val>
            <c:numRef>
              <c:f>gdp!$D$3:$D$49</c:f>
              <c:numCache>
                <c:formatCode>0.0</c:formatCode>
                <c:ptCount val="47"/>
                <c:pt idx="0">
                  <c:v>-0.24374851695628399</c:v>
                </c:pt>
                <c:pt idx="1">
                  <c:v>-0.57966418939999897</c:v>
                </c:pt>
                <c:pt idx="2">
                  <c:v>-0.90065090162551298</c:v>
                </c:pt>
                <c:pt idx="3">
                  <c:v>-0.94349685159205499</c:v>
                </c:pt>
                <c:pt idx="4">
                  <c:v>-1.0447710913449499</c:v>
                </c:pt>
                <c:pt idx="5">
                  <c:v>-0.28376516023753401</c:v>
                </c:pt>
                <c:pt idx="6">
                  <c:v>0.196891699269236</c:v>
                </c:pt>
                <c:pt idx="7">
                  <c:v>0.99555661745817203</c:v>
                </c:pt>
                <c:pt idx="8">
                  <c:v>1.68944438988613</c:v>
                </c:pt>
                <c:pt idx="9">
                  <c:v>1.4258328878802999</c:v>
                </c:pt>
                <c:pt idx="10">
                  <c:v>1.6192240191787499</c:v>
                </c:pt>
                <c:pt idx="11">
                  <c:v>1.6783975516162</c:v>
                </c:pt>
                <c:pt idx="12">
                  <c:v>1.98241879554065</c:v>
                </c:pt>
                <c:pt idx="13">
                  <c:v>2.22081255270467</c:v>
                </c:pt>
                <c:pt idx="14">
                  <c:v>2.14273870242297</c:v>
                </c:pt>
                <c:pt idx="15">
                  <c:v>2.2183150088088399</c:v>
                </c:pt>
                <c:pt idx="16">
                  <c:v>2.0254771045659101</c:v>
                </c:pt>
                <c:pt idx="17">
                  <c:v>1.7924440382821101</c:v>
                </c:pt>
                <c:pt idx="18">
                  <c:v>1.8134496948191201</c:v>
                </c:pt>
                <c:pt idx="19">
                  <c:v>2.1681720549337502</c:v>
                </c:pt>
                <c:pt idx="20">
                  <c:v>2.3891341280720102</c:v>
                </c:pt>
                <c:pt idx="21">
                  <c:v>3.0065631814050802</c:v>
                </c:pt>
                <c:pt idx="22">
                  <c:v>3.2806809907037802</c:v>
                </c:pt>
                <c:pt idx="23">
                  <c:v>3.2392178914057101</c:v>
                </c:pt>
                <c:pt idx="24">
                  <c:v>2.6130104572548198</c:v>
                </c:pt>
                <c:pt idx="25">
                  <c:v>2.35952001819674</c:v>
                </c:pt>
                <c:pt idx="26">
                  <c:v>1.6563620983003799</c:v>
                </c:pt>
                <c:pt idx="27">
                  <c:v>1.5679654937530001</c:v>
                </c:pt>
                <c:pt idx="28">
                  <c:v>2.0585520714855399</c:v>
                </c:pt>
                <c:pt idx="29">
                  <c:v>1.8520081159130799</c:v>
                </c:pt>
                <c:pt idx="30">
                  <c:v>2.0126417512548902</c:v>
                </c:pt>
                <c:pt idx="31">
                  <c:v>1.3966410497077499</c:v>
                </c:pt>
                <c:pt idx="32">
                  <c:v>-2.2837657616876701</c:v>
                </c:pt>
                <c:pt idx="33">
                  <c:v>-13.317705891850199</c:v>
                </c:pt>
                <c:pt idx="34">
                  <c:v>-3.80154638601064</c:v>
                </c:pt>
                <c:pt idx="35">
                  <c:v>-3.7352061812262201</c:v>
                </c:pt>
                <c:pt idx="36">
                  <c:v>-0.12986972291122001</c:v>
                </c:pt>
                <c:pt idx="37">
                  <c:v>14.4138790165825</c:v>
                </c:pt>
                <c:pt idx="38">
                  <c:v>4.9159766436623702</c:v>
                </c:pt>
                <c:pt idx="39">
                  <c:v>5.4801312535742897</c:v>
                </c:pt>
                <c:pt idx="40">
                  <c:v>5.6156094379332204</c:v>
                </c:pt>
                <c:pt idx="41">
                  <c:v>4.1994416038481903</c:v>
                </c:pt>
                <c:pt idx="42">
                  <c:v>2.52310687610079</c:v>
                </c:pt>
                <c:pt idx="43">
                  <c:v>1.6915302237504599</c:v>
                </c:pt>
                <c:pt idx="44">
                  <c:v>1.06303107228618</c:v>
                </c:pt>
                <c:pt idx="45">
                  <c:v>0.39514904477604401</c:v>
                </c:pt>
                <c:pt idx="46">
                  <c:v>5.6014749731718001E-2</c:v>
                </c:pt>
              </c:numCache>
            </c:numRef>
          </c:val>
          <c:smooth val="0"/>
          <c:extLst>
            <c:ext xmlns:c16="http://schemas.microsoft.com/office/drawing/2014/chart" uri="{C3380CC4-5D6E-409C-BE32-E72D297353CC}">
              <c16:uniqueId val="{00000001-4A4F-4056-A325-B04C51EE1D5E}"/>
            </c:ext>
          </c:extLst>
        </c:ser>
        <c:ser>
          <c:idx val="2"/>
          <c:order val="2"/>
          <c:tx>
            <c:strRef>
              <c:f>gdp!$E$2</c:f>
              <c:strCache>
                <c:ptCount val="1"/>
                <c:pt idx="0">
                  <c:v>USA</c:v>
                </c:pt>
              </c:strCache>
            </c:strRef>
          </c:tx>
          <c:spPr>
            <a:ln w="25400">
              <a:solidFill>
                <a:srgbClr val="00447C"/>
              </a:solidFill>
            </a:ln>
          </c:spPr>
          <c:marker>
            <c:symbol val="none"/>
          </c:marker>
          <c:cat>
            <c:multiLvlStrRef>
              <c:f>gdp!$A$3:$B$50</c:f>
              <c:multiLvlStrCache>
                <c:ptCount val="47"/>
                <c:lvl>
                  <c:pt idx="46">
                    <c:v> </c:v>
                  </c:pt>
                </c:lvl>
                <c:lvl>
                  <c:pt idx="0">
                    <c:v>2012</c:v>
                  </c:pt>
                  <c:pt idx="4">
                    <c:v>2013</c:v>
                  </c:pt>
                  <c:pt idx="8">
                    <c:v>2014</c:v>
                  </c:pt>
                  <c:pt idx="12">
                    <c:v>2015</c:v>
                  </c:pt>
                  <c:pt idx="16">
                    <c:v>2016</c:v>
                  </c:pt>
                  <c:pt idx="20">
                    <c:v>2017</c:v>
                  </c:pt>
                  <c:pt idx="24">
                    <c:v>2018</c:v>
                  </c:pt>
                  <c:pt idx="28">
                    <c:v>2019</c:v>
                  </c:pt>
                  <c:pt idx="32">
                    <c:v>2020</c:v>
                  </c:pt>
                  <c:pt idx="36">
                    <c:v>2021</c:v>
                  </c:pt>
                  <c:pt idx="40">
                    <c:v>2022</c:v>
                  </c:pt>
                  <c:pt idx="44">
                    <c:v>2023</c:v>
                  </c:pt>
                </c:lvl>
              </c:multiLvlStrCache>
            </c:multiLvlStrRef>
          </c:cat>
          <c:val>
            <c:numRef>
              <c:f>gdp!$E$3:$E$49</c:f>
              <c:numCache>
                <c:formatCode>0.0</c:formatCode>
                <c:ptCount val="47"/>
                <c:pt idx="0">
                  <c:v>2.6380693108862601</c:v>
                </c:pt>
                <c:pt idx="1">
                  <c:v>2.4033358391379198</c:v>
                </c:pt>
                <c:pt idx="2">
                  <c:v>2.5737123144880298</c:v>
                </c:pt>
                <c:pt idx="3">
                  <c:v>1.55185200733247</c:v>
                </c:pt>
                <c:pt idx="4">
                  <c:v>1.7008684857094001</c:v>
                </c:pt>
                <c:pt idx="5">
                  <c:v>1.51993820410701</c:v>
                </c:pt>
                <c:pt idx="6">
                  <c:v>2.2370224932955201</c:v>
                </c:pt>
                <c:pt idx="7">
                  <c:v>3.0091449601746101</c:v>
                </c:pt>
                <c:pt idx="8">
                  <c:v>1.65081755593804</c:v>
                </c:pt>
                <c:pt idx="9">
                  <c:v>2.68915215872729</c:v>
                </c:pt>
                <c:pt idx="10">
                  <c:v>3.05978292820169</c:v>
                </c:pt>
                <c:pt idx="11">
                  <c:v>2.6858351011456598</c:v>
                </c:pt>
                <c:pt idx="12">
                  <c:v>3.9692994988184598</c:v>
                </c:pt>
                <c:pt idx="13">
                  <c:v>3.2790878609270502</c:v>
                </c:pt>
                <c:pt idx="14">
                  <c:v>2.4473213664345601</c:v>
                </c:pt>
                <c:pt idx="15">
                  <c:v>2.1198613126648298</c:v>
                </c:pt>
                <c:pt idx="16">
                  <c:v>1.7950168913806099</c:v>
                </c:pt>
                <c:pt idx="17">
                  <c:v>1.49325083271473</c:v>
                </c:pt>
                <c:pt idx="18">
                  <c:v>1.8057615310855299</c:v>
                </c:pt>
                <c:pt idx="19">
                  <c:v>2.1815663030564001</c:v>
                </c:pt>
                <c:pt idx="20">
                  <c:v>2.0874616941966901</c:v>
                </c:pt>
                <c:pt idx="21">
                  <c:v>2.3304137937582698</c:v>
                </c:pt>
                <c:pt idx="22">
                  <c:v>2.4108214121745801</c:v>
                </c:pt>
                <c:pt idx="23">
                  <c:v>2.9941434967617799</c:v>
                </c:pt>
                <c:pt idx="24">
                  <c:v>3.3288100947591102</c:v>
                </c:pt>
                <c:pt idx="25">
                  <c:v>3.29896284652202</c:v>
                </c:pt>
                <c:pt idx="26">
                  <c:v>3.1300306407186702</c:v>
                </c:pt>
                <c:pt idx="27">
                  <c:v>2.12511075148453</c:v>
                </c:pt>
                <c:pt idx="28">
                  <c:v>1.85128504545258</c:v>
                </c:pt>
                <c:pt idx="29">
                  <c:v>2.1540533335292098</c:v>
                </c:pt>
                <c:pt idx="30">
                  <c:v>2.6702647849291501</c:v>
                </c:pt>
                <c:pt idx="31">
                  <c:v>3.1825560700351998</c:v>
                </c:pt>
                <c:pt idx="32">
                  <c:v>1.226554788968</c:v>
                </c:pt>
                <c:pt idx="33">
                  <c:v>-7.5284602105037397</c:v>
                </c:pt>
                <c:pt idx="34">
                  <c:v>-1.4689314767167301</c:v>
                </c:pt>
                <c:pt idx="35">
                  <c:v>-1.0832850303526</c:v>
                </c:pt>
                <c:pt idx="36">
                  <c:v>1.5726073238881999</c:v>
                </c:pt>
                <c:pt idx="37">
                  <c:v>11.9502722115196</c:v>
                </c:pt>
                <c:pt idx="38">
                  <c:v>4.7353167947109496</c:v>
                </c:pt>
                <c:pt idx="39">
                  <c:v>5.4210917824865597</c:v>
                </c:pt>
                <c:pt idx="40">
                  <c:v>3.5650820052708601</c:v>
                </c:pt>
                <c:pt idx="41">
                  <c:v>1.87059845109778</c:v>
                </c:pt>
                <c:pt idx="42">
                  <c:v>1.71321313612203</c:v>
                </c:pt>
                <c:pt idx="43">
                  <c:v>0.65169165934092699</c:v>
                </c:pt>
                <c:pt idx="44">
                  <c:v>1.7179273017444201</c:v>
                </c:pt>
                <c:pt idx="45">
                  <c:v>2.3824681594386701</c:v>
                </c:pt>
                <c:pt idx="46">
                  <c:v>2.9308913670109802</c:v>
                </c:pt>
              </c:numCache>
            </c:numRef>
          </c:val>
          <c:smooth val="0"/>
          <c:extLst>
            <c:ext xmlns:c16="http://schemas.microsoft.com/office/drawing/2014/chart" uri="{C3380CC4-5D6E-409C-BE32-E72D297353CC}">
              <c16:uniqueId val="{00000002-4A4F-4056-A325-B04C51EE1D5E}"/>
            </c:ext>
          </c:extLst>
        </c:ser>
        <c:dLbls>
          <c:showLegendKey val="0"/>
          <c:showVal val="0"/>
          <c:showCatName val="0"/>
          <c:showSerName val="0"/>
          <c:showPercent val="0"/>
          <c:showBubbleSize val="0"/>
        </c:dLbls>
        <c:smooth val="0"/>
        <c:axId val="1325521920"/>
        <c:axId val="1325566208"/>
      </c:lineChart>
      <c:catAx>
        <c:axId val="1325521920"/>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ru-RU"/>
          </a:p>
        </c:txPr>
        <c:crossAx val="1325566208"/>
        <c:crossesAt val="-50"/>
        <c:auto val="1"/>
        <c:lblAlgn val="ctr"/>
        <c:lblOffset val="0"/>
        <c:tickMarkSkip val="1"/>
        <c:noMultiLvlLbl val="0"/>
      </c:catAx>
      <c:valAx>
        <c:axId val="1325566208"/>
        <c:scaling>
          <c:orientation val="minMax"/>
          <c:max val="15"/>
        </c:scaling>
        <c:delete val="0"/>
        <c:axPos val="l"/>
        <c:title>
          <c:tx>
            <c:rich>
              <a:bodyPr rot="0" vert="horz"/>
              <a:lstStyle/>
              <a:p>
                <a:pPr>
                  <a:defRPr/>
                </a:pPr>
                <a:r>
                  <a:rPr lang="ru-RU"/>
                  <a:t>% </a:t>
                </a:r>
                <a:r>
                  <a:rPr lang="en-US"/>
                  <a:t>yoy</a:t>
                </a:r>
                <a:endParaRPr lang="ru-RU"/>
              </a:p>
            </c:rich>
          </c:tx>
          <c:layout>
            <c:manualLayout>
              <c:xMode val="edge"/>
              <c:yMode val="edge"/>
              <c:x val="6.8141840607292642E-2"/>
              <c:y val="3.4429700854700852E-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ru-RU"/>
          </a:p>
        </c:txPr>
        <c:crossAx val="1325521920"/>
        <c:crosses val="autoZero"/>
        <c:crossBetween val="between"/>
      </c:valAx>
      <c:spPr>
        <a:noFill/>
        <a:ln w="25400">
          <a:noFill/>
        </a:ln>
      </c:spPr>
    </c:plotArea>
    <c:legend>
      <c:legendPos val="b"/>
      <c:layout>
        <c:manualLayout>
          <c:xMode val="edge"/>
          <c:yMode val="edge"/>
          <c:x val="0.19264069264069264"/>
          <c:y val="6.3837735199940432E-2"/>
          <c:w val="0.53679653679653683"/>
          <c:h val="0.14596607945321277"/>
        </c:manualLayout>
      </c:layout>
      <c:overlay val="0"/>
      <c:spPr>
        <a:noFill/>
        <a:ln w="25400">
          <a:noFill/>
        </a:ln>
      </c:spPr>
    </c:legend>
    <c:plotVisOnly val="1"/>
    <c:dispBlanksAs val="gap"/>
    <c:showDLblsOverMax val="0"/>
  </c:chart>
  <c:spPr>
    <a:solidFill>
      <a:sysClr val="window" lastClr="FFFFFF"/>
    </a:solidFill>
    <a:ln w="25400">
      <a:noFill/>
    </a:ln>
  </c:spPr>
  <c:txPr>
    <a:bodyPr/>
    <a:lstStyle/>
    <a:p>
      <a:pPr>
        <a:defRPr sz="1200" b="0" i="0" u="none" strike="noStrike" baseline="0">
          <a:solidFill>
            <a:srgbClr val="373737"/>
          </a:solidFill>
          <a:latin typeface="Arial Cyr"/>
          <a:ea typeface="Arial Cyr"/>
          <a:cs typeface="Arial Cyr"/>
        </a:defRPr>
      </a:pPr>
      <a:endParaRPr lang="ru-RU"/>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19325735992403E-2"/>
          <c:y val="1.8195299145299146E-2"/>
          <c:w val="0.91778656220322885"/>
          <c:h val="0.88383632478632479"/>
        </c:manualLayout>
      </c:layout>
      <c:lineChart>
        <c:grouping val="standard"/>
        <c:varyColors val="0"/>
        <c:ser>
          <c:idx val="0"/>
          <c:order val="0"/>
          <c:tx>
            <c:strRef>
              <c:f>gdp!$G$2</c:f>
              <c:strCache>
                <c:ptCount val="1"/>
                <c:pt idx="0">
                  <c:v>Brazil </c:v>
                </c:pt>
              </c:strCache>
            </c:strRef>
          </c:tx>
          <c:spPr>
            <a:ln>
              <a:solidFill>
                <a:srgbClr val="00B0F0"/>
              </a:solidFill>
            </a:ln>
          </c:spPr>
          <c:marker>
            <c:symbol val="none"/>
          </c:marker>
          <c:cat>
            <c:multiLvlStrRef>
              <c:f>gdp!$A$3:$B$50</c:f>
              <c:multiLvlStrCache>
                <c:ptCount val="47"/>
                <c:lvl>
                  <c:pt idx="46">
                    <c:v> </c:v>
                  </c:pt>
                </c:lvl>
                <c:lvl>
                  <c:pt idx="0">
                    <c:v>2012</c:v>
                  </c:pt>
                  <c:pt idx="4">
                    <c:v>2013</c:v>
                  </c:pt>
                  <c:pt idx="8">
                    <c:v>2014</c:v>
                  </c:pt>
                  <c:pt idx="12">
                    <c:v>2015</c:v>
                  </c:pt>
                  <c:pt idx="16">
                    <c:v>2016</c:v>
                  </c:pt>
                  <c:pt idx="20">
                    <c:v>2017</c:v>
                  </c:pt>
                  <c:pt idx="24">
                    <c:v>2018</c:v>
                  </c:pt>
                  <c:pt idx="28">
                    <c:v>2019</c:v>
                  </c:pt>
                  <c:pt idx="32">
                    <c:v>2020</c:v>
                  </c:pt>
                  <c:pt idx="36">
                    <c:v>2021</c:v>
                  </c:pt>
                  <c:pt idx="40">
                    <c:v>2022</c:v>
                  </c:pt>
                  <c:pt idx="44">
                    <c:v>2023</c:v>
                  </c:pt>
                </c:lvl>
              </c:multiLvlStrCache>
            </c:multiLvlStrRef>
          </c:cat>
          <c:val>
            <c:numRef>
              <c:f>gdp!$G$3:$G$49</c:f>
              <c:numCache>
                <c:formatCode>0.0</c:formatCode>
                <c:ptCount val="47"/>
                <c:pt idx="0">
                  <c:v>0.25586144303714398</c:v>
                </c:pt>
                <c:pt idx="1">
                  <c:v>1.0714251784975699</c:v>
                </c:pt>
                <c:pt idx="2">
                  <c:v>2.9945326533146202</c:v>
                </c:pt>
                <c:pt idx="3">
                  <c:v>2.1194346123563301</c:v>
                </c:pt>
                <c:pt idx="4">
                  <c:v>4.0424899824807499</c:v>
                </c:pt>
                <c:pt idx="5">
                  <c:v>3.7877477256723302</c:v>
                </c:pt>
                <c:pt idx="6">
                  <c:v>2.43010714624095</c:v>
                </c:pt>
                <c:pt idx="7">
                  <c:v>2.55085706306334</c:v>
                </c:pt>
                <c:pt idx="8">
                  <c:v>2.82261244489984</c:v>
                </c:pt>
                <c:pt idx="9">
                  <c:v>9.2431489450259998E-3</c:v>
                </c:pt>
                <c:pt idx="10">
                  <c:v>-0.49035342305111401</c:v>
                </c:pt>
                <c:pt idx="11">
                  <c:v>-0.23601923115155801</c:v>
                </c:pt>
                <c:pt idx="12">
                  <c:v>-1.78606685627303</c:v>
                </c:pt>
                <c:pt idx="13">
                  <c:v>-2.7370573269749898</c:v>
                </c:pt>
                <c:pt idx="14">
                  <c:v>-4.1607417246634899</c:v>
                </c:pt>
                <c:pt idx="15">
                  <c:v>-5.5022045020991701</c:v>
                </c:pt>
                <c:pt idx="16">
                  <c:v>-6.0440118153870097</c:v>
                </c:pt>
                <c:pt idx="17">
                  <c:v>-3.5554042391374598</c:v>
                </c:pt>
                <c:pt idx="18">
                  <c:v>-2.5038784213007901</c:v>
                </c:pt>
                <c:pt idx="19">
                  <c:v>-1.67642502253328</c:v>
                </c:pt>
                <c:pt idx="20">
                  <c:v>0.67047170738833595</c:v>
                </c:pt>
                <c:pt idx="21">
                  <c:v>1.1406218348877599</c:v>
                </c:pt>
                <c:pt idx="22">
                  <c:v>2.01978492874058</c:v>
                </c:pt>
                <c:pt idx="23">
                  <c:v>2.6826319467033999</c:v>
                </c:pt>
                <c:pt idx="24">
                  <c:v>2.1618818852330701</c:v>
                </c:pt>
                <c:pt idx="25">
                  <c:v>1.3950944190274801</c:v>
                </c:pt>
                <c:pt idx="26">
                  <c:v>1.9710694809653799</c:v>
                </c:pt>
                <c:pt idx="27">
                  <c:v>1.12108709566545</c:v>
                </c:pt>
                <c:pt idx="28">
                  <c:v>0.93434640385618495</c:v>
                </c:pt>
                <c:pt idx="29">
                  <c:v>1.6088950814479801</c:v>
                </c:pt>
                <c:pt idx="30">
                  <c:v>0.662843739951261</c:v>
                </c:pt>
                <c:pt idx="31">
                  <c:v>1.6674798190706199</c:v>
                </c:pt>
                <c:pt idx="32">
                  <c:v>-0.90816986834900604</c:v>
                </c:pt>
                <c:pt idx="33">
                  <c:v>-10.084215303690801</c:v>
                </c:pt>
                <c:pt idx="34">
                  <c:v>-2.95846114594486</c:v>
                </c:pt>
                <c:pt idx="35">
                  <c:v>-0.32570702398903201</c:v>
                </c:pt>
                <c:pt idx="36">
                  <c:v>2.85764108607481</c:v>
                </c:pt>
                <c:pt idx="37">
                  <c:v>12.3613318060351</c:v>
                </c:pt>
                <c:pt idx="38">
                  <c:v>4.52807476179012</c:v>
                </c:pt>
                <c:pt idx="39">
                  <c:v>2.2334531948007199</c:v>
                </c:pt>
                <c:pt idx="40">
                  <c:v>2.3277645028412199</c:v>
                </c:pt>
                <c:pt idx="41">
                  <c:v>3.5835794743668901</c:v>
                </c:pt>
                <c:pt idx="42">
                  <c:v>3.61941838384306</c:v>
                </c:pt>
                <c:pt idx="43">
                  <c:v>2.5468157960334299</c:v>
                </c:pt>
                <c:pt idx="44">
                  <c:v>3.4373649919356</c:v>
                </c:pt>
                <c:pt idx="45">
                  <c:v>3.30617894328351</c:v>
                </c:pt>
              </c:numCache>
            </c:numRef>
          </c:val>
          <c:smooth val="0"/>
          <c:extLst>
            <c:ext xmlns:c16="http://schemas.microsoft.com/office/drawing/2014/chart" uri="{C3380CC4-5D6E-409C-BE32-E72D297353CC}">
              <c16:uniqueId val="{00000000-A68D-44E0-AA3C-7B842A5220BC}"/>
            </c:ext>
          </c:extLst>
        </c:ser>
        <c:ser>
          <c:idx val="1"/>
          <c:order val="1"/>
          <c:tx>
            <c:strRef>
              <c:f>gdp!$I$2</c:f>
              <c:strCache>
                <c:ptCount val="1"/>
                <c:pt idx="0">
                  <c:v>India </c:v>
                </c:pt>
              </c:strCache>
            </c:strRef>
          </c:tx>
          <c:spPr>
            <a:ln>
              <a:solidFill>
                <a:srgbClr val="006632"/>
              </a:solidFill>
            </a:ln>
          </c:spPr>
          <c:marker>
            <c:symbol val="none"/>
          </c:marker>
          <c:cat>
            <c:multiLvlStrRef>
              <c:f>gdp!$A$3:$B$50</c:f>
              <c:multiLvlStrCache>
                <c:ptCount val="47"/>
                <c:lvl>
                  <c:pt idx="46">
                    <c:v> </c:v>
                  </c:pt>
                </c:lvl>
                <c:lvl>
                  <c:pt idx="0">
                    <c:v>2012</c:v>
                  </c:pt>
                  <c:pt idx="4">
                    <c:v>2013</c:v>
                  </c:pt>
                  <c:pt idx="8">
                    <c:v>2014</c:v>
                  </c:pt>
                  <c:pt idx="12">
                    <c:v>2015</c:v>
                  </c:pt>
                  <c:pt idx="16">
                    <c:v>2016</c:v>
                  </c:pt>
                  <c:pt idx="20">
                    <c:v>2017</c:v>
                  </c:pt>
                  <c:pt idx="24">
                    <c:v>2018</c:v>
                  </c:pt>
                  <c:pt idx="28">
                    <c:v>2019</c:v>
                  </c:pt>
                  <c:pt idx="32">
                    <c:v>2020</c:v>
                  </c:pt>
                  <c:pt idx="36">
                    <c:v>2021</c:v>
                  </c:pt>
                  <c:pt idx="40">
                    <c:v>2022</c:v>
                  </c:pt>
                  <c:pt idx="44">
                    <c:v>2023</c:v>
                  </c:pt>
                </c:lvl>
              </c:multiLvlStrCache>
            </c:multiLvlStrRef>
          </c:cat>
          <c:val>
            <c:numRef>
              <c:f>gdp!$I$3:$I$49</c:f>
              <c:numCache>
                <c:formatCode>0.0</c:formatCode>
                <c:ptCount val="47"/>
                <c:pt idx="0">
                  <c:v>#N/A</c:v>
                </c:pt>
                <c:pt idx="1">
                  <c:v>4.2212179878159004</c:v>
                </c:pt>
                <c:pt idx="2">
                  <c:v>6.0950264656160398</c:v>
                </c:pt>
                <c:pt idx="3">
                  <c:v>5.6335749417922996</c:v>
                </c:pt>
                <c:pt idx="4">
                  <c:v>5.8606700235298703</c:v>
                </c:pt>
                <c:pt idx="5">
                  <c:v>6.1179672066657798</c:v>
                </c:pt>
                <c:pt idx="6">
                  <c:v>5.9168972960956703</c:v>
                </c:pt>
                <c:pt idx="7">
                  <c:v>6.9785605527829997</c:v>
                </c:pt>
                <c:pt idx="8">
                  <c:v>6.5155512207285398</c:v>
                </c:pt>
                <c:pt idx="9">
                  <c:v>7.4460497792773701</c:v>
                </c:pt>
                <c:pt idx="10">
                  <c:v>7.6836513411475904</c:v>
                </c:pt>
                <c:pt idx="11">
                  <c:v>6.98069807847292</c:v>
                </c:pt>
                <c:pt idx="12">
                  <c:v>7.5362057603638597</c:v>
                </c:pt>
                <c:pt idx="13">
                  <c:v>7.3807101477628301</c:v>
                </c:pt>
                <c:pt idx="14">
                  <c:v>7.4022525458918196</c:v>
                </c:pt>
                <c:pt idx="15">
                  <c:v>7.9296391782371298</c:v>
                </c:pt>
                <c:pt idx="16">
                  <c:v>9.2225782075479597</c:v>
                </c:pt>
                <c:pt idx="17">
                  <c:v>8.8367216287134909</c:v>
                </c:pt>
                <c:pt idx="18">
                  <c:v>9.3126341504614594</c:v>
                </c:pt>
                <c:pt idx="19">
                  <c:v>8.5962390447686392</c:v>
                </c:pt>
                <c:pt idx="20">
                  <c:v>6.3771755720569399</c:v>
                </c:pt>
                <c:pt idx="21">
                  <c:v>6.6674934508495003</c:v>
                </c:pt>
                <c:pt idx="22">
                  <c:v>5.9965588585085801</c:v>
                </c:pt>
                <c:pt idx="23">
                  <c:v>6.5347118339091397</c:v>
                </c:pt>
                <c:pt idx="24">
                  <c:v>7.9581532600284497</c:v>
                </c:pt>
                <c:pt idx="25">
                  <c:v>7.1652685516919297</c:v>
                </c:pt>
                <c:pt idx="26">
                  <c:v>6.9028166347270696</c:v>
                </c:pt>
                <c:pt idx="27">
                  <c:v>6.4832398750126199</c:v>
                </c:pt>
                <c:pt idx="28">
                  <c:v>5.3211836475175103</c:v>
                </c:pt>
                <c:pt idx="29">
                  <c:v>5.4678299915928497</c:v>
                </c:pt>
                <c:pt idx="30">
                  <c:v>4.5926727578062296</c:v>
                </c:pt>
                <c:pt idx="31">
                  <c:v>3.22364759687387</c:v>
                </c:pt>
                <c:pt idx="32">
                  <c:v>2.2734994331207301</c:v>
                </c:pt>
                <c:pt idx="33">
                  <c:v>-21.921111465955999</c:v>
                </c:pt>
                <c:pt idx="34">
                  <c:v>-4.8380548290076</c:v>
                </c:pt>
                <c:pt idx="35">
                  <c:v>1.01489436047065</c:v>
                </c:pt>
                <c:pt idx="36">
                  <c:v>2.2999887890125299</c:v>
                </c:pt>
                <c:pt idx="37">
                  <c:v>22.162479066649301</c:v>
                </c:pt>
                <c:pt idx="38">
                  <c:v>8.9840040085452202</c:v>
                </c:pt>
                <c:pt idx="39">
                  <c:v>4.54085636496802</c:v>
                </c:pt>
                <c:pt idx="40">
                  <c:v>3.6329045029388798</c:v>
                </c:pt>
                <c:pt idx="41">
                  <c:v>13.105460402349401</c:v>
                </c:pt>
                <c:pt idx="42">
                  <c:v>5.5122773732473602</c:v>
                </c:pt>
                <c:pt idx="43">
                  <c:v>4.6386475330760701</c:v>
                </c:pt>
                <c:pt idx="44">
                  <c:v>6.27858220246027</c:v>
                </c:pt>
                <c:pt idx="45">
                  <c:v>7.2617236766783604</c:v>
                </c:pt>
              </c:numCache>
            </c:numRef>
          </c:val>
          <c:smooth val="0"/>
          <c:extLst>
            <c:ext xmlns:c16="http://schemas.microsoft.com/office/drawing/2014/chart" uri="{C3380CC4-5D6E-409C-BE32-E72D297353CC}">
              <c16:uniqueId val="{00000001-A68D-44E0-AA3C-7B842A5220BC}"/>
            </c:ext>
          </c:extLst>
        </c:ser>
        <c:ser>
          <c:idx val="2"/>
          <c:order val="2"/>
          <c:tx>
            <c:strRef>
              <c:f>gdp!$J$2</c:f>
              <c:strCache>
                <c:ptCount val="1"/>
                <c:pt idx="0">
                  <c:v>China</c:v>
                </c:pt>
              </c:strCache>
            </c:strRef>
          </c:tx>
          <c:spPr>
            <a:ln>
              <a:solidFill>
                <a:srgbClr val="C00000"/>
              </a:solidFill>
            </a:ln>
          </c:spPr>
          <c:marker>
            <c:symbol val="none"/>
          </c:marker>
          <c:cat>
            <c:multiLvlStrRef>
              <c:f>gdp!$A$3:$B$50</c:f>
              <c:multiLvlStrCache>
                <c:ptCount val="47"/>
                <c:lvl>
                  <c:pt idx="46">
                    <c:v> </c:v>
                  </c:pt>
                </c:lvl>
                <c:lvl>
                  <c:pt idx="0">
                    <c:v>2012</c:v>
                  </c:pt>
                  <c:pt idx="4">
                    <c:v>2013</c:v>
                  </c:pt>
                  <c:pt idx="8">
                    <c:v>2014</c:v>
                  </c:pt>
                  <c:pt idx="12">
                    <c:v>2015</c:v>
                  </c:pt>
                  <c:pt idx="16">
                    <c:v>2016</c:v>
                  </c:pt>
                  <c:pt idx="20">
                    <c:v>2017</c:v>
                  </c:pt>
                  <c:pt idx="24">
                    <c:v>2018</c:v>
                  </c:pt>
                  <c:pt idx="28">
                    <c:v>2019</c:v>
                  </c:pt>
                  <c:pt idx="32">
                    <c:v>2020</c:v>
                  </c:pt>
                  <c:pt idx="36">
                    <c:v>2021</c:v>
                  </c:pt>
                  <c:pt idx="40">
                    <c:v>2022</c:v>
                  </c:pt>
                  <c:pt idx="44">
                    <c:v>2023</c:v>
                  </c:pt>
                </c:lvl>
              </c:multiLvlStrCache>
            </c:multiLvlStrRef>
          </c:cat>
          <c:val>
            <c:numRef>
              <c:f>gdp!$J$3:$J$49</c:f>
              <c:numCache>
                <c:formatCode>0.0</c:formatCode>
                <c:ptCount val="47"/>
                <c:pt idx="0">
                  <c:v>8.1</c:v>
                </c:pt>
                <c:pt idx="1">
                  <c:v>7.7</c:v>
                </c:pt>
                <c:pt idx="2">
                  <c:v>7.5</c:v>
                </c:pt>
                <c:pt idx="3">
                  <c:v>8.1</c:v>
                </c:pt>
                <c:pt idx="4">
                  <c:v>7.9</c:v>
                </c:pt>
                <c:pt idx="5">
                  <c:v>7.6</c:v>
                </c:pt>
                <c:pt idx="6">
                  <c:v>7.9</c:v>
                </c:pt>
                <c:pt idx="7">
                  <c:v>7.7</c:v>
                </c:pt>
                <c:pt idx="8">
                  <c:v>7.5</c:v>
                </c:pt>
                <c:pt idx="9">
                  <c:v>7.6</c:v>
                </c:pt>
                <c:pt idx="10">
                  <c:v>7.2</c:v>
                </c:pt>
                <c:pt idx="11">
                  <c:v>7.3</c:v>
                </c:pt>
                <c:pt idx="12">
                  <c:v>7.1</c:v>
                </c:pt>
                <c:pt idx="13">
                  <c:v>7.1</c:v>
                </c:pt>
                <c:pt idx="14">
                  <c:v>7</c:v>
                </c:pt>
                <c:pt idx="15">
                  <c:v>6.9</c:v>
                </c:pt>
                <c:pt idx="16">
                  <c:v>6.9</c:v>
                </c:pt>
                <c:pt idx="17">
                  <c:v>6.8</c:v>
                </c:pt>
                <c:pt idx="18">
                  <c:v>6.8</c:v>
                </c:pt>
                <c:pt idx="19">
                  <c:v>6.9</c:v>
                </c:pt>
                <c:pt idx="20">
                  <c:v>7</c:v>
                </c:pt>
                <c:pt idx="21">
                  <c:v>7</c:v>
                </c:pt>
                <c:pt idx="22">
                  <c:v>6.9</c:v>
                </c:pt>
                <c:pt idx="23">
                  <c:v>6.8</c:v>
                </c:pt>
                <c:pt idx="24">
                  <c:v>6.9</c:v>
                </c:pt>
                <c:pt idx="25">
                  <c:v>6.9</c:v>
                </c:pt>
                <c:pt idx="26">
                  <c:v>6.7</c:v>
                </c:pt>
                <c:pt idx="27">
                  <c:v>6.5</c:v>
                </c:pt>
                <c:pt idx="28">
                  <c:v>6.3</c:v>
                </c:pt>
                <c:pt idx="29">
                  <c:v>6</c:v>
                </c:pt>
                <c:pt idx="30">
                  <c:v>5.9</c:v>
                </c:pt>
                <c:pt idx="31">
                  <c:v>5.8</c:v>
                </c:pt>
                <c:pt idx="32">
                  <c:v>-6.9</c:v>
                </c:pt>
                <c:pt idx="33">
                  <c:v>3.1</c:v>
                </c:pt>
                <c:pt idx="34">
                  <c:v>4.8</c:v>
                </c:pt>
                <c:pt idx="35">
                  <c:v>6.4</c:v>
                </c:pt>
                <c:pt idx="36">
                  <c:v>18.7</c:v>
                </c:pt>
                <c:pt idx="37">
                  <c:v>8.3000000000000007</c:v>
                </c:pt>
                <c:pt idx="38">
                  <c:v>5.2</c:v>
                </c:pt>
                <c:pt idx="39">
                  <c:v>4.3</c:v>
                </c:pt>
                <c:pt idx="40">
                  <c:v>4.8</c:v>
                </c:pt>
                <c:pt idx="41">
                  <c:v>0.4</c:v>
                </c:pt>
                <c:pt idx="42">
                  <c:v>3.9</c:v>
                </c:pt>
                <c:pt idx="43">
                  <c:v>2.9</c:v>
                </c:pt>
                <c:pt idx="44">
                  <c:v>4.5</c:v>
                </c:pt>
                <c:pt idx="45">
                  <c:v>6.3</c:v>
                </c:pt>
                <c:pt idx="46">
                  <c:v>4.9000000000000004</c:v>
                </c:pt>
              </c:numCache>
            </c:numRef>
          </c:val>
          <c:smooth val="0"/>
          <c:extLst>
            <c:ext xmlns:c16="http://schemas.microsoft.com/office/drawing/2014/chart" uri="{C3380CC4-5D6E-409C-BE32-E72D297353CC}">
              <c16:uniqueId val="{00000002-A68D-44E0-AA3C-7B842A5220BC}"/>
            </c:ext>
          </c:extLst>
        </c:ser>
        <c:ser>
          <c:idx val="3"/>
          <c:order val="3"/>
          <c:tx>
            <c:v>Russia</c:v>
          </c:tx>
          <c:spPr>
            <a:ln>
              <a:solidFill>
                <a:srgbClr val="00447C"/>
              </a:solidFill>
            </a:ln>
          </c:spPr>
          <c:marker>
            <c:symbol val="none"/>
          </c:marker>
          <c:val>
            <c:numRef>
              <c:f>gdp!$H$3:$H$49</c:f>
              <c:numCache>
                <c:formatCode>0.0</c:formatCode>
                <c:ptCount val="47"/>
                <c:pt idx="0">
                  <c:v>4.9658959272056</c:v>
                </c:pt>
                <c:pt idx="1">
                  <c:v>4.3829636451887302</c:v>
                </c:pt>
                <c:pt idx="2">
                  <c:v>3.7274807235815199</c:v>
                </c:pt>
                <c:pt idx="3">
                  <c:v>2.5587927942682498</c:v>
                </c:pt>
                <c:pt idx="4">
                  <c:v>1.7210856299889301</c:v>
                </c:pt>
                <c:pt idx="5">
                  <c:v>1.6739036094826001</c:v>
                </c:pt>
                <c:pt idx="6">
                  <c:v>1.1928063653827801</c:v>
                </c:pt>
                <c:pt idx="7">
                  <c:v>1.70851200233228</c:v>
                </c:pt>
                <c:pt idx="8">
                  <c:v>0.95320027205147695</c:v>
                </c:pt>
                <c:pt idx="9">
                  <c:v>1.09516640485256</c:v>
                </c:pt>
                <c:pt idx="10">
                  <c:v>0.732738042992373</c:v>
                </c:pt>
                <c:pt idx="11">
                  <c:v>-8.1162163924889993E-2</c:v>
                </c:pt>
                <c:pt idx="12">
                  <c:v>-1.0901795750447301</c:v>
                </c:pt>
                <c:pt idx="13">
                  <c:v>-2.22359113355617</c:v>
                </c:pt>
                <c:pt idx="14">
                  <c:v>-1.7217267098296201</c:v>
                </c:pt>
                <c:pt idx="15">
                  <c:v>-1.7438928439490899</c:v>
                </c:pt>
                <c:pt idx="16">
                  <c:v>-0.54547591569578802</c:v>
                </c:pt>
                <c:pt idx="17">
                  <c:v>0.179086243364181</c:v>
                </c:pt>
                <c:pt idx="18">
                  <c:v>8.6290206945071002E-2</c:v>
                </c:pt>
                <c:pt idx="19">
                  <c:v>1.17292314158433</c:v>
                </c:pt>
                <c:pt idx="20">
                  <c:v>1.18466466508621</c:v>
                </c:pt>
                <c:pt idx="21">
                  <c:v>1.8284671945132001</c:v>
                </c:pt>
                <c:pt idx="22">
                  <c:v>2.4172248302511901</c:v>
                </c:pt>
                <c:pt idx="23">
                  <c:v>1.6004158957176799</c:v>
                </c:pt>
                <c:pt idx="24">
                  <c:v>2.7708768167614002</c:v>
                </c:pt>
                <c:pt idx="25">
                  <c:v>2.6356292154403</c:v>
                </c:pt>
                <c:pt idx="26">
                  <c:v>2.1890012080857399</c:v>
                </c:pt>
                <c:pt idx="27">
                  <c:v>2.8459098603089599</c:v>
                </c:pt>
                <c:pt idx="28">
                  <c:v>1.4313071715604999</c:v>
                </c:pt>
                <c:pt idx="29">
                  <c:v>3.14987770589557</c:v>
                </c:pt>
                <c:pt idx="30">
                  <c:v>1.8947629124904499</c:v>
                </c:pt>
                <c:pt idx="31">
                  <c:v>0.764657988076335</c:v>
                </c:pt>
                <c:pt idx="32">
                  <c:v>0.605141744290702</c:v>
                </c:pt>
                <c:pt idx="33">
                  <c:v>-6.0322870865021399</c:v>
                </c:pt>
                <c:pt idx="34">
                  <c:v>-2.4675762328016102</c:v>
                </c:pt>
                <c:pt idx="35">
                  <c:v>-1.2994789865790599</c:v>
                </c:pt>
                <c:pt idx="36">
                  <c:v>-0.43206129426372802</c:v>
                </c:pt>
                <c:pt idx="37">
                  <c:v>7.5695837174657896</c:v>
                </c:pt>
                <c:pt idx="38">
                  <c:v>3.8304456431298499</c:v>
                </c:pt>
                <c:pt idx="39">
                  <c:v>5.7950679753470524</c:v>
                </c:pt>
                <c:pt idx="40">
                  <c:v>3.0182351127977114</c:v>
                </c:pt>
                <c:pt idx="41">
                  <c:v>-4.45880113210454</c:v>
                </c:pt>
                <c:pt idx="42">
                  <c:v>-3.537858980196134</c:v>
                </c:pt>
                <c:pt idx="43">
                  <c:v>-2.664942914801955</c:v>
                </c:pt>
                <c:pt idx="44">
                  <c:v>-1.7999999999999972</c:v>
                </c:pt>
                <c:pt idx="45">
                  <c:v>4.8506457254830622</c:v>
                </c:pt>
                <c:pt idx="46">
                  <c:v>5.5300000000000011</c:v>
                </c:pt>
              </c:numCache>
            </c:numRef>
          </c:val>
          <c:smooth val="0"/>
          <c:extLst>
            <c:ext xmlns:c16="http://schemas.microsoft.com/office/drawing/2014/chart" uri="{C3380CC4-5D6E-409C-BE32-E72D297353CC}">
              <c16:uniqueId val="{00000003-A68D-44E0-AA3C-7B842A5220BC}"/>
            </c:ext>
          </c:extLst>
        </c:ser>
        <c:dLbls>
          <c:showLegendKey val="0"/>
          <c:showVal val="0"/>
          <c:showCatName val="0"/>
          <c:showSerName val="0"/>
          <c:showPercent val="0"/>
          <c:showBubbleSize val="0"/>
        </c:dLbls>
        <c:smooth val="0"/>
        <c:axId val="1325521920"/>
        <c:axId val="1325566208"/>
      </c:lineChart>
      <c:catAx>
        <c:axId val="1325521920"/>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ru-RU"/>
          </a:p>
        </c:txPr>
        <c:crossAx val="1325566208"/>
        <c:crossesAt val="-50"/>
        <c:auto val="1"/>
        <c:lblAlgn val="ctr"/>
        <c:lblOffset val="0"/>
        <c:tickMarkSkip val="1"/>
        <c:noMultiLvlLbl val="0"/>
      </c:catAx>
      <c:valAx>
        <c:axId val="1325566208"/>
        <c:scaling>
          <c:orientation val="minMax"/>
        </c:scaling>
        <c:delete val="0"/>
        <c:axPos val="l"/>
        <c:title>
          <c:tx>
            <c:rich>
              <a:bodyPr rot="0" vert="horz"/>
              <a:lstStyle/>
              <a:p>
                <a:pPr>
                  <a:defRPr/>
                </a:pPr>
                <a:r>
                  <a:rPr lang="ru-RU"/>
                  <a:t>% </a:t>
                </a:r>
                <a:r>
                  <a:rPr lang="en-US"/>
                  <a:t>yoy</a:t>
                </a:r>
                <a:endParaRPr lang="ru-RU"/>
              </a:p>
            </c:rich>
          </c:tx>
          <c:layout>
            <c:manualLayout>
              <c:xMode val="edge"/>
              <c:yMode val="edge"/>
              <c:x val="7.2532890955179646E-2"/>
              <c:y val="2.0861324786324791E-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ru-RU"/>
          </a:p>
        </c:txPr>
        <c:crossAx val="1325521920"/>
        <c:crosses val="autoZero"/>
        <c:crossBetween val="between"/>
      </c:valAx>
      <c:spPr>
        <a:noFill/>
        <a:ln w="25400">
          <a:noFill/>
        </a:ln>
      </c:spPr>
    </c:plotArea>
    <c:legend>
      <c:legendPos val="b"/>
      <c:layout>
        <c:manualLayout>
          <c:xMode val="edge"/>
          <c:yMode val="edge"/>
          <c:x val="7.1886853350846824E-2"/>
          <c:y val="0.11811132478632479"/>
          <c:w val="0.59736505861447153"/>
          <c:h val="5.2308547008547014E-2"/>
        </c:manualLayout>
      </c:layout>
      <c:overlay val="0"/>
      <c:spPr>
        <a:noFill/>
        <a:ln w="25400">
          <a:noFill/>
        </a:ln>
      </c:spPr>
    </c:legend>
    <c:plotVisOnly val="1"/>
    <c:dispBlanksAs val="gap"/>
    <c:showDLblsOverMax val="0"/>
  </c:chart>
  <c:spPr>
    <a:solidFill>
      <a:sysClr val="window" lastClr="FFFFFF"/>
    </a:solidFill>
    <a:ln w="25400">
      <a:noFill/>
    </a:ln>
  </c:spPr>
  <c:txPr>
    <a:bodyPr/>
    <a:lstStyle/>
    <a:p>
      <a:pPr>
        <a:defRPr sz="1200" b="0" i="0" u="none" strike="noStrike" baseline="0">
          <a:solidFill>
            <a:srgbClr val="373737"/>
          </a:solidFill>
          <a:latin typeface="Arial Cyr"/>
          <a:ea typeface="Arial Cyr"/>
          <a:cs typeface="Arial Cyr"/>
        </a:defRPr>
      </a:pPr>
      <a:endParaRPr lang="ru-RU"/>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419325735992403E-2"/>
          <c:y val="3.6598200312989049E-2"/>
          <c:w val="0.91778656220322885"/>
          <c:h val="0.92940128205128203"/>
        </c:manualLayout>
      </c:layout>
      <c:lineChart>
        <c:grouping val="standard"/>
        <c:varyColors val="0"/>
        <c:ser>
          <c:idx val="0"/>
          <c:order val="0"/>
          <c:spPr>
            <a:ln w="25400">
              <a:solidFill>
                <a:srgbClr val="00447C"/>
              </a:solidFill>
              <a:prstDash val="solid"/>
            </a:ln>
          </c:spPr>
          <c:marker>
            <c:symbol val="none"/>
          </c:marker>
          <c:cat>
            <c:numRef>
              <c:f>'ttf (2)'!$A$5533:$A$6590</c:f>
              <c:numCache>
                <c:formatCode>m/d/yyyy</c:formatCode>
                <c:ptCount val="1058"/>
                <c:pt idx="0">
                  <c:v>44197</c:v>
                </c:pt>
                <c:pt idx="1">
                  <c:v>44198</c:v>
                </c:pt>
                <c:pt idx="2">
                  <c:v>44199</c:v>
                </c:pt>
                <c:pt idx="3">
                  <c:v>44200</c:v>
                </c:pt>
                <c:pt idx="4">
                  <c:v>44201</c:v>
                </c:pt>
                <c:pt idx="5">
                  <c:v>44202</c:v>
                </c:pt>
                <c:pt idx="6">
                  <c:v>44203</c:v>
                </c:pt>
                <c:pt idx="7">
                  <c:v>44204</c:v>
                </c:pt>
                <c:pt idx="8">
                  <c:v>44205</c:v>
                </c:pt>
                <c:pt idx="9">
                  <c:v>44206</c:v>
                </c:pt>
                <c:pt idx="10">
                  <c:v>44207</c:v>
                </c:pt>
                <c:pt idx="11">
                  <c:v>44208</c:v>
                </c:pt>
                <c:pt idx="12">
                  <c:v>44209</c:v>
                </c:pt>
                <c:pt idx="13">
                  <c:v>44210</c:v>
                </c:pt>
                <c:pt idx="14">
                  <c:v>44211</c:v>
                </c:pt>
                <c:pt idx="15">
                  <c:v>44212</c:v>
                </c:pt>
                <c:pt idx="16">
                  <c:v>44213</c:v>
                </c:pt>
                <c:pt idx="17">
                  <c:v>44214</c:v>
                </c:pt>
                <c:pt idx="18">
                  <c:v>44215</c:v>
                </c:pt>
                <c:pt idx="19">
                  <c:v>44216</c:v>
                </c:pt>
                <c:pt idx="20">
                  <c:v>44217</c:v>
                </c:pt>
                <c:pt idx="21">
                  <c:v>44218</c:v>
                </c:pt>
                <c:pt idx="22">
                  <c:v>44219</c:v>
                </c:pt>
                <c:pt idx="23">
                  <c:v>44220</c:v>
                </c:pt>
                <c:pt idx="24">
                  <c:v>44221</c:v>
                </c:pt>
                <c:pt idx="25">
                  <c:v>44222</c:v>
                </c:pt>
                <c:pt idx="26">
                  <c:v>44223</c:v>
                </c:pt>
                <c:pt idx="27">
                  <c:v>44224</c:v>
                </c:pt>
                <c:pt idx="28">
                  <c:v>44225</c:v>
                </c:pt>
                <c:pt idx="29">
                  <c:v>44226</c:v>
                </c:pt>
                <c:pt idx="30">
                  <c:v>44227</c:v>
                </c:pt>
                <c:pt idx="31">
                  <c:v>44228</c:v>
                </c:pt>
                <c:pt idx="32">
                  <c:v>44229</c:v>
                </c:pt>
                <c:pt idx="33">
                  <c:v>44230</c:v>
                </c:pt>
                <c:pt idx="34">
                  <c:v>44231</c:v>
                </c:pt>
                <c:pt idx="35">
                  <c:v>44232</c:v>
                </c:pt>
                <c:pt idx="36">
                  <c:v>44233</c:v>
                </c:pt>
                <c:pt idx="37">
                  <c:v>44234</c:v>
                </c:pt>
                <c:pt idx="38">
                  <c:v>44235</c:v>
                </c:pt>
                <c:pt idx="39">
                  <c:v>44236</c:v>
                </c:pt>
                <c:pt idx="40">
                  <c:v>44237</c:v>
                </c:pt>
                <c:pt idx="41">
                  <c:v>44238</c:v>
                </c:pt>
                <c:pt idx="42">
                  <c:v>44239</c:v>
                </c:pt>
                <c:pt idx="43">
                  <c:v>44240</c:v>
                </c:pt>
                <c:pt idx="44">
                  <c:v>44241</c:v>
                </c:pt>
                <c:pt idx="45">
                  <c:v>44242</c:v>
                </c:pt>
                <c:pt idx="46">
                  <c:v>44243</c:v>
                </c:pt>
                <c:pt idx="47">
                  <c:v>44244</c:v>
                </c:pt>
                <c:pt idx="48">
                  <c:v>44245</c:v>
                </c:pt>
                <c:pt idx="49">
                  <c:v>44246</c:v>
                </c:pt>
                <c:pt idx="50">
                  <c:v>44247</c:v>
                </c:pt>
                <c:pt idx="51">
                  <c:v>44248</c:v>
                </c:pt>
                <c:pt idx="52">
                  <c:v>44249</c:v>
                </c:pt>
                <c:pt idx="53">
                  <c:v>44250</c:v>
                </c:pt>
                <c:pt idx="54">
                  <c:v>44251</c:v>
                </c:pt>
                <c:pt idx="55">
                  <c:v>44252</c:v>
                </c:pt>
                <c:pt idx="56">
                  <c:v>44253</c:v>
                </c:pt>
                <c:pt idx="57">
                  <c:v>44254</c:v>
                </c:pt>
                <c:pt idx="58">
                  <c:v>44256</c:v>
                </c:pt>
                <c:pt idx="59">
                  <c:v>44257</c:v>
                </c:pt>
                <c:pt idx="60">
                  <c:v>44258</c:v>
                </c:pt>
                <c:pt idx="61">
                  <c:v>44259</c:v>
                </c:pt>
                <c:pt idx="62">
                  <c:v>44260</c:v>
                </c:pt>
                <c:pt idx="63">
                  <c:v>44261</c:v>
                </c:pt>
                <c:pt idx="64">
                  <c:v>44262</c:v>
                </c:pt>
                <c:pt idx="65">
                  <c:v>44263</c:v>
                </c:pt>
                <c:pt idx="66">
                  <c:v>44264</c:v>
                </c:pt>
                <c:pt idx="67">
                  <c:v>44265</c:v>
                </c:pt>
                <c:pt idx="68">
                  <c:v>44266</c:v>
                </c:pt>
                <c:pt idx="69">
                  <c:v>44267</c:v>
                </c:pt>
                <c:pt idx="70">
                  <c:v>44268</c:v>
                </c:pt>
                <c:pt idx="71">
                  <c:v>44269</c:v>
                </c:pt>
                <c:pt idx="72">
                  <c:v>44270</c:v>
                </c:pt>
                <c:pt idx="73">
                  <c:v>44271</c:v>
                </c:pt>
                <c:pt idx="74">
                  <c:v>44272</c:v>
                </c:pt>
                <c:pt idx="75">
                  <c:v>44273</c:v>
                </c:pt>
                <c:pt idx="76">
                  <c:v>44274</c:v>
                </c:pt>
                <c:pt idx="77">
                  <c:v>44275</c:v>
                </c:pt>
                <c:pt idx="78">
                  <c:v>44276</c:v>
                </c:pt>
                <c:pt idx="79">
                  <c:v>44277</c:v>
                </c:pt>
                <c:pt idx="80">
                  <c:v>44278</c:v>
                </c:pt>
                <c:pt idx="81">
                  <c:v>44279</c:v>
                </c:pt>
                <c:pt idx="82">
                  <c:v>44280</c:v>
                </c:pt>
                <c:pt idx="83">
                  <c:v>44281</c:v>
                </c:pt>
                <c:pt idx="84">
                  <c:v>44282</c:v>
                </c:pt>
                <c:pt idx="85">
                  <c:v>44283</c:v>
                </c:pt>
                <c:pt idx="86">
                  <c:v>44284</c:v>
                </c:pt>
                <c:pt idx="87">
                  <c:v>44285</c:v>
                </c:pt>
                <c:pt idx="88">
                  <c:v>44286</c:v>
                </c:pt>
                <c:pt idx="89">
                  <c:v>44287</c:v>
                </c:pt>
                <c:pt idx="90">
                  <c:v>44288</c:v>
                </c:pt>
                <c:pt idx="91">
                  <c:v>44289</c:v>
                </c:pt>
                <c:pt idx="92">
                  <c:v>44290</c:v>
                </c:pt>
                <c:pt idx="93">
                  <c:v>44291</c:v>
                </c:pt>
                <c:pt idx="94">
                  <c:v>44292</c:v>
                </c:pt>
                <c:pt idx="95">
                  <c:v>44293</c:v>
                </c:pt>
                <c:pt idx="96">
                  <c:v>44294</c:v>
                </c:pt>
                <c:pt idx="97">
                  <c:v>44295</c:v>
                </c:pt>
                <c:pt idx="98">
                  <c:v>44296</c:v>
                </c:pt>
                <c:pt idx="99">
                  <c:v>44297</c:v>
                </c:pt>
                <c:pt idx="100">
                  <c:v>44298</c:v>
                </c:pt>
                <c:pt idx="101">
                  <c:v>44299</c:v>
                </c:pt>
                <c:pt idx="102">
                  <c:v>44300</c:v>
                </c:pt>
                <c:pt idx="103">
                  <c:v>44301</c:v>
                </c:pt>
                <c:pt idx="104">
                  <c:v>44302</c:v>
                </c:pt>
                <c:pt idx="105">
                  <c:v>44303</c:v>
                </c:pt>
                <c:pt idx="106">
                  <c:v>44304</c:v>
                </c:pt>
                <c:pt idx="107">
                  <c:v>44305</c:v>
                </c:pt>
                <c:pt idx="108">
                  <c:v>44306</c:v>
                </c:pt>
                <c:pt idx="109">
                  <c:v>44307</c:v>
                </c:pt>
                <c:pt idx="110">
                  <c:v>44308</c:v>
                </c:pt>
                <c:pt idx="111">
                  <c:v>44309</c:v>
                </c:pt>
                <c:pt idx="112">
                  <c:v>44310</c:v>
                </c:pt>
                <c:pt idx="113">
                  <c:v>44311</c:v>
                </c:pt>
                <c:pt idx="114">
                  <c:v>44312</c:v>
                </c:pt>
                <c:pt idx="115">
                  <c:v>44313</c:v>
                </c:pt>
                <c:pt idx="116">
                  <c:v>44314</c:v>
                </c:pt>
                <c:pt idx="117">
                  <c:v>44315</c:v>
                </c:pt>
                <c:pt idx="118">
                  <c:v>44316</c:v>
                </c:pt>
                <c:pt idx="119">
                  <c:v>44317</c:v>
                </c:pt>
                <c:pt idx="120">
                  <c:v>44318</c:v>
                </c:pt>
                <c:pt idx="121">
                  <c:v>44319</c:v>
                </c:pt>
                <c:pt idx="122">
                  <c:v>44320</c:v>
                </c:pt>
                <c:pt idx="123">
                  <c:v>44321</c:v>
                </c:pt>
                <c:pt idx="124">
                  <c:v>44322</c:v>
                </c:pt>
                <c:pt idx="125">
                  <c:v>44323</c:v>
                </c:pt>
                <c:pt idx="126">
                  <c:v>44324</c:v>
                </c:pt>
                <c:pt idx="127">
                  <c:v>44325</c:v>
                </c:pt>
                <c:pt idx="128">
                  <c:v>44326</c:v>
                </c:pt>
                <c:pt idx="129">
                  <c:v>44327</c:v>
                </c:pt>
                <c:pt idx="130">
                  <c:v>44328</c:v>
                </c:pt>
                <c:pt idx="131">
                  <c:v>44329</c:v>
                </c:pt>
                <c:pt idx="132">
                  <c:v>44330</c:v>
                </c:pt>
                <c:pt idx="133">
                  <c:v>44331</c:v>
                </c:pt>
                <c:pt idx="134">
                  <c:v>44332</c:v>
                </c:pt>
                <c:pt idx="135">
                  <c:v>44333</c:v>
                </c:pt>
                <c:pt idx="136">
                  <c:v>44334</c:v>
                </c:pt>
                <c:pt idx="137">
                  <c:v>44335</c:v>
                </c:pt>
                <c:pt idx="138">
                  <c:v>44336</c:v>
                </c:pt>
                <c:pt idx="139">
                  <c:v>44337</c:v>
                </c:pt>
                <c:pt idx="140">
                  <c:v>44338</c:v>
                </c:pt>
                <c:pt idx="141">
                  <c:v>44339</c:v>
                </c:pt>
                <c:pt idx="142">
                  <c:v>44340</c:v>
                </c:pt>
                <c:pt idx="143">
                  <c:v>44341</c:v>
                </c:pt>
                <c:pt idx="144">
                  <c:v>44342</c:v>
                </c:pt>
                <c:pt idx="145">
                  <c:v>44343</c:v>
                </c:pt>
                <c:pt idx="146">
                  <c:v>44344</c:v>
                </c:pt>
                <c:pt idx="147">
                  <c:v>44345</c:v>
                </c:pt>
                <c:pt idx="148">
                  <c:v>44346</c:v>
                </c:pt>
                <c:pt idx="149">
                  <c:v>44347</c:v>
                </c:pt>
                <c:pt idx="150">
                  <c:v>44348</c:v>
                </c:pt>
                <c:pt idx="151">
                  <c:v>44349</c:v>
                </c:pt>
                <c:pt idx="152">
                  <c:v>44350</c:v>
                </c:pt>
                <c:pt idx="153">
                  <c:v>44351</c:v>
                </c:pt>
                <c:pt idx="154">
                  <c:v>44352</c:v>
                </c:pt>
                <c:pt idx="155">
                  <c:v>44353</c:v>
                </c:pt>
                <c:pt idx="156">
                  <c:v>44354</c:v>
                </c:pt>
                <c:pt idx="157">
                  <c:v>44355</c:v>
                </c:pt>
                <c:pt idx="158">
                  <c:v>44356</c:v>
                </c:pt>
                <c:pt idx="159">
                  <c:v>44357</c:v>
                </c:pt>
                <c:pt idx="160">
                  <c:v>44358</c:v>
                </c:pt>
                <c:pt idx="161">
                  <c:v>44359</c:v>
                </c:pt>
                <c:pt idx="162">
                  <c:v>44360</c:v>
                </c:pt>
                <c:pt idx="163">
                  <c:v>44361</c:v>
                </c:pt>
                <c:pt idx="164">
                  <c:v>44362</c:v>
                </c:pt>
                <c:pt idx="165">
                  <c:v>44363</c:v>
                </c:pt>
                <c:pt idx="166">
                  <c:v>44364</c:v>
                </c:pt>
                <c:pt idx="167">
                  <c:v>44365</c:v>
                </c:pt>
                <c:pt idx="168">
                  <c:v>44366</c:v>
                </c:pt>
                <c:pt idx="169">
                  <c:v>44367</c:v>
                </c:pt>
                <c:pt idx="170">
                  <c:v>44368</c:v>
                </c:pt>
                <c:pt idx="171">
                  <c:v>44369</c:v>
                </c:pt>
                <c:pt idx="172">
                  <c:v>44370</c:v>
                </c:pt>
                <c:pt idx="173">
                  <c:v>44371</c:v>
                </c:pt>
                <c:pt idx="174">
                  <c:v>44372</c:v>
                </c:pt>
                <c:pt idx="175">
                  <c:v>44373</c:v>
                </c:pt>
                <c:pt idx="176">
                  <c:v>44374</c:v>
                </c:pt>
                <c:pt idx="177">
                  <c:v>44375</c:v>
                </c:pt>
                <c:pt idx="178">
                  <c:v>44376</c:v>
                </c:pt>
                <c:pt idx="179">
                  <c:v>44377</c:v>
                </c:pt>
                <c:pt idx="180">
                  <c:v>44378</c:v>
                </c:pt>
                <c:pt idx="181">
                  <c:v>44379</c:v>
                </c:pt>
                <c:pt idx="182">
                  <c:v>44380</c:v>
                </c:pt>
                <c:pt idx="183">
                  <c:v>44381</c:v>
                </c:pt>
                <c:pt idx="184">
                  <c:v>44382</c:v>
                </c:pt>
                <c:pt idx="185">
                  <c:v>44383</c:v>
                </c:pt>
                <c:pt idx="186">
                  <c:v>44384</c:v>
                </c:pt>
                <c:pt idx="187">
                  <c:v>44385</c:v>
                </c:pt>
                <c:pt idx="188">
                  <c:v>44386</c:v>
                </c:pt>
                <c:pt idx="189">
                  <c:v>44387</c:v>
                </c:pt>
                <c:pt idx="190">
                  <c:v>44388</c:v>
                </c:pt>
                <c:pt idx="191">
                  <c:v>44389</c:v>
                </c:pt>
                <c:pt idx="192">
                  <c:v>44390</c:v>
                </c:pt>
                <c:pt idx="193">
                  <c:v>44391</c:v>
                </c:pt>
                <c:pt idx="194">
                  <c:v>44392</c:v>
                </c:pt>
                <c:pt idx="195">
                  <c:v>44393</c:v>
                </c:pt>
                <c:pt idx="196">
                  <c:v>44394</c:v>
                </c:pt>
                <c:pt idx="197">
                  <c:v>44395</c:v>
                </c:pt>
                <c:pt idx="198">
                  <c:v>44396</c:v>
                </c:pt>
                <c:pt idx="199">
                  <c:v>44397</c:v>
                </c:pt>
                <c:pt idx="200">
                  <c:v>44398</c:v>
                </c:pt>
                <c:pt idx="201">
                  <c:v>44399</c:v>
                </c:pt>
                <c:pt idx="202">
                  <c:v>44400</c:v>
                </c:pt>
                <c:pt idx="203">
                  <c:v>44401</c:v>
                </c:pt>
                <c:pt idx="204">
                  <c:v>44402</c:v>
                </c:pt>
                <c:pt idx="205">
                  <c:v>44403</c:v>
                </c:pt>
                <c:pt idx="206">
                  <c:v>44404</c:v>
                </c:pt>
                <c:pt idx="207">
                  <c:v>44405</c:v>
                </c:pt>
                <c:pt idx="208">
                  <c:v>44406</c:v>
                </c:pt>
                <c:pt idx="209">
                  <c:v>44407</c:v>
                </c:pt>
                <c:pt idx="210">
                  <c:v>44408</c:v>
                </c:pt>
                <c:pt idx="211">
                  <c:v>44409</c:v>
                </c:pt>
                <c:pt idx="212">
                  <c:v>44410</c:v>
                </c:pt>
                <c:pt idx="213">
                  <c:v>44411</c:v>
                </c:pt>
                <c:pt idx="214">
                  <c:v>44412</c:v>
                </c:pt>
                <c:pt idx="215">
                  <c:v>44413</c:v>
                </c:pt>
                <c:pt idx="216">
                  <c:v>44414</c:v>
                </c:pt>
                <c:pt idx="217">
                  <c:v>44415</c:v>
                </c:pt>
                <c:pt idx="218">
                  <c:v>44416</c:v>
                </c:pt>
                <c:pt idx="219">
                  <c:v>44417</c:v>
                </c:pt>
                <c:pt idx="220">
                  <c:v>44418</c:v>
                </c:pt>
                <c:pt idx="221">
                  <c:v>44419</c:v>
                </c:pt>
                <c:pt idx="222">
                  <c:v>44420</c:v>
                </c:pt>
                <c:pt idx="223">
                  <c:v>44421</c:v>
                </c:pt>
                <c:pt idx="224">
                  <c:v>44422</c:v>
                </c:pt>
                <c:pt idx="225">
                  <c:v>44423</c:v>
                </c:pt>
                <c:pt idx="226">
                  <c:v>44424</c:v>
                </c:pt>
                <c:pt idx="227">
                  <c:v>44425</c:v>
                </c:pt>
                <c:pt idx="228">
                  <c:v>44426</c:v>
                </c:pt>
                <c:pt idx="229">
                  <c:v>44427</c:v>
                </c:pt>
                <c:pt idx="230">
                  <c:v>44428</c:v>
                </c:pt>
                <c:pt idx="231">
                  <c:v>44429</c:v>
                </c:pt>
                <c:pt idx="232">
                  <c:v>44430</c:v>
                </c:pt>
                <c:pt idx="233">
                  <c:v>44431</c:v>
                </c:pt>
                <c:pt idx="234">
                  <c:v>44432</c:v>
                </c:pt>
                <c:pt idx="235">
                  <c:v>44433</c:v>
                </c:pt>
                <c:pt idx="236">
                  <c:v>44434</c:v>
                </c:pt>
                <c:pt idx="237">
                  <c:v>44435</c:v>
                </c:pt>
                <c:pt idx="238">
                  <c:v>44436</c:v>
                </c:pt>
                <c:pt idx="239">
                  <c:v>44437</c:v>
                </c:pt>
                <c:pt idx="240">
                  <c:v>44438</c:v>
                </c:pt>
                <c:pt idx="241">
                  <c:v>44439</c:v>
                </c:pt>
                <c:pt idx="242">
                  <c:v>44440</c:v>
                </c:pt>
                <c:pt idx="243">
                  <c:v>44441</c:v>
                </c:pt>
                <c:pt idx="244">
                  <c:v>44442</c:v>
                </c:pt>
                <c:pt idx="245">
                  <c:v>44443</c:v>
                </c:pt>
                <c:pt idx="246">
                  <c:v>44444</c:v>
                </c:pt>
                <c:pt idx="247">
                  <c:v>44445</c:v>
                </c:pt>
                <c:pt idx="248">
                  <c:v>44446</c:v>
                </c:pt>
                <c:pt idx="249">
                  <c:v>44447</c:v>
                </c:pt>
                <c:pt idx="250">
                  <c:v>44448</c:v>
                </c:pt>
                <c:pt idx="251">
                  <c:v>44449</c:v>
                </c:pt>
                <c:pt idx="252">
                  <c:v>44450</c:v>
                </c:pt>
                <c:pt idx="253">
                  <c:v>44451</c:v>
                </c:pt>
                <c:pt idx="254">
                  <c:v>44452</c:v>
                </c:pt>
                <c:pt idx="255">
                  <c:v>44453</c:v>
                </c:pt>
                <c:pt idx="256">
                  <c:v>44454</c:v>
                </c:pt>
                <c:pt idx="257">
                  <c:v>44455</c:v>
                </c:pt>
                <c:pt idx="258">
                  <c:v>44456</c:v>
                </c:pt>
                <c:pt idx="259">
                  <c:v>44457</c:v>
                </c:pt>
                <c:pt idx="260">
                  <c:v>44459</c:v>
                </c:pt>
                <c:pt idx="261">
                  <c:v>44460</c:v>
                </c:pt>
                <c:pt idx="262">
                  <c:v>44461</c:v>
                </c:pt>
                <c:pt idx="263">
                  <c:v>44462</c:v>
                </c:pt>
                <c:pt idx="264">
                  <c:v>44463</c:v>
                </c:pt>
                <c:pt idx="265">
                  <c:v>44464</c:v>
                </c:pt>
                <c:pt idx="266">
                  <c:v>44465</c:v>
                </c:pt>
                <c:pt idx="267">
                  <c:v>44466</c:v>
                </c:pt>
                <c:pt idx="268">
                  <c:v>44467</c:v>
                </c:pt>
                <c:pt idx="269">
                  <c:v>44468</c:v>
                </c:pt>
                <c:pt idx="270">
                  <c:v>44469</c:v>
                </c:pt>
                <c:pt idx="271">
                  <c:v>44470</c:v>
                </c:pt>
                <c:pt idx="272">
                  <c:v>44471</c:v>
                </c:pt>
                <c:pt idx="273">
                  <c:v>44472</c:v>
                </c:pt>
                <c:pt idx="274">
                  <c:v>44473</c:v>
                </c:pt>
                <c:pt idx="275">
                  <c:v>44474</c:v>
                </c:pt>
                <c:pt idx="276">
                  <c:v>44475</c:v>
                </c:pt>
                <c:pt idx="277">
                  <c:v>44476</c:v>
                </c:pt>
                <c:pt idx="278">
                  <c:v>44477</c:v>
                </c:pt>
                <c:pt idx="279">
                  <c:v>44478</c:v>
                </c:pt>
                <c:pt idx="280">
                  <c:v>44479</c:v>
                </c:pt>
                <c:pt idx="281">
                  <c:v>44480</c:v>
                </c:pt>
                <c:pt idx="282">
                  <c:v>44481</c:v>
                </c:pt>
                <c:pt idx="283">
                  <c:v>44482</c:v>
                </c:pt>
                <c:pt idx="284">
                  <c:v>44483</c:v>
                </c:pt>
                <c:pt idx="285">
                  <c:v>44484</c:v>
                </c:pt>
                <c:pt idx="286">
                  <c:v>44485</c:v>
                </c:pt>
                <c:pt idx="287">
                  <c:v>44486</c:v>
                </c:pt>
                <c:pt idx="288">
                  <c:v>44487</c:v>
                </c:pt>
                <c:pt idx="289">
                  <c:v>44488</c:v>
                </c:pt>
                <c:pt idx="290">
                  <c:v>44489</c:v>
                </c:pt>
                <c:pt idx="291">
                  <c:v>44490</c:v>
                </c:pt>
                <c:pt idx="292">
                  <c:v>44491</c:v>
                </c:pt>
                <c:pt idx="293">
                  <c:v>44492</c:v>
                </c:pt>
                <c:pt idx="294">
                  <c:v>44493</c:v>
                </c:pt>
                <c:pt idx="295">
                  <c:v>44494</c:v>
                </c:pt>
                <c:pt idx="296">
                  <c:v>44495</c:v>
                </c:pt>
                <c:pt idx="297">
                  <c:v>44496</c:v>
                </c:pt>
                <c:pt idx="298">
                  <c:v>44497</c:v>
                </c:pt>
                <c:pt idx="299">
                  <c:v>44498</c:v>
                </c:pt>
                <c:pt idx="300">
                  <c:v>44499</c:v>
                </c:pt>
                <c:pt idx="301">
                  <c:v>44500</c:v>
                </c:pt>
                <c:pt idx="302">
                  <c:v>44501</c:v>
                </c:pt>
                <c:pt idx="303">
                  <c:v>44502</c:v>
                </c:pt>
                <c:pt idx="304">
                  <c:v>44503</c:v>
                </c:pt>
                <c:pt idx="305">
                  <c:v>44504</c:v>
                </c:pt>
                <c:pt idx="306">
                  <c:v>44505</c:v>
                </c:pt>
                <c:pt idx="307">
                  <c:v>44506</c:v>
                </c:pt>
                <c:pt idx="308">
                  <c:v>44507</c:v>
                </c:pt>
                <c:pt idx="309">
                  <c:v>44508</c:v>
                </c:pt>
                <c:pt idx="310">
                  <c:v>44509</c:v>
                </c:pt>
                <c:pt idx="311">
                  <c:v>44510</c:v>
                </c:pt>
                <c:pt idx="312">
                  <c:v>44511</c:v>
                </c:pt>
                <c:pt idx="313">
                  <c:v>44512</c:v>
                </c:pt>
                <c:pt idx="314">
                  <c:v>44513</c:v>
                </c:pt>
                <c:pt idx="315">
                  <c:v>44514</c:v>
                </c:pt>
                <c:pt idx="316">
                  <c:v>44515</c:v>
                </c:pt>
                <c:pt idx="317">
                  <c:v>44516</c:v>
                </c:pt>
                <c:pt idx="318">
                  <c:v>44517</c:v>
                </c:pt>
                <c:pt idx="319">
                  <c:v>44518</c:v>
                </c:pt>
                <c:pt idx="320">
                  <c:v>44519</c:v>
                </c:pt>
                <c:pt idx="321">
                  <c:v>44520</c:v>
                </c:pt>
                <c:pt idx="322">
                  <c:v>44521</c:v>
                </c:pt>
                <c:pt idx="323">
                  <c:v>44522</c:v>
                </c:pt>
                <c:pt idx="324">
                  <c:v>44523</c:v>
                </c:pt>
                <c:pt idx="325">
                  <c:v>44524</c:v>
                </c:pt>
                <c:pt idx="326">
                  <c:v>44525</c:v>
                </c:pt>
                <c:pt idx="327">
                  <c:v>44526</c:v>
                </c:pt>
                <c:pt idx="328">
                  <c:v>44527</c:v>
                </c:pt>
                <c:pt idx="329">
                  <c:v>44528</c:v>
                </c:pt>
                <c:pt idx="330">
                  <c:v>44529</c:v>
                </c:pt>
                <c:pt idx="331">
                  <c:v>44530</c:v>
                </c:pt>
                <c:pt idx="332">
                  <c:v>44531</c:v>
                </c:pt>
                <c:pt idx="333">
                  <c:v>44532</c:v>
                </c:pt>
                <c:pt idx="334">
                  <c:v>44533</c:v>
                </c:pt>
                <c:pt idx="335">
                  <c:v>44534</c:v>
                </c:pt>
                <c:pt idx="336">
                  <c:v>44535</c:v>
                </c:pt>
                <c:pt idx="337">
                  <c:v>44536</c:v>
                </c:pt>
                <c:pt idx="338">
                  <c:v>44537</c:v>
                </c:pt>
                <c:pt idx="339">
                  <c:v>44538</c:v>
                </c:pt>
                <c:pt idx="340">
                  <c:v>44539</c:v>
                </c:pt>
                <c:pt idx="341">
                  <c:v>44540</c:v>
                </c:pt>
                <c:pt idx="342">
                  <c:v>44541</c:v>
                </c:pt>
                <c:pt idx="343">
                  <c:v>44542</c:v>
                </c:pt>
                <c:pt idx="344">
                  <c:v>44543</c:v>
                </c:pt>
                <c:pt idx="345">
                  <c:v>44544</c:v>
                </c:pt>
                <c:pt idx="346">
                  <c:v>44545</c:v>
                </c:pt>
                <c:pt idx="347">
                  <c:v>44546</c:v>
                </c:pt>
                <c:pt idx="348">
                  <c:v>44547</c:v>
                </c:pt>
                <c:pt idx="349">
                  <c:v>44548</c:v>
                </c:pt>
                <c:pt idx="350">
                  <c:v>44549</c:v>
                </c:pt>
                <c:pt idx="351">
                  <c:v>44550</c:v>
                </c:pt>
                <c:pt idx="352">
                  <c:v>44551</c:v>
                </c:pt>
                <c:pt idx="353">
                  <c:v>44552</c:v>
                </c:pt>
                <c:pt idx="354">
                  <c:v>44553</c:v>
                </c:pt>
                <c:pt idx="355">
                  <c:v>44554</c:v>
                </c:pt>
                <c:pt idx="356">
                  <c:v>44555</c:v>
                </c:pt>
                <c:pt idx="357">
                  <c:v>44557</c:v>
                </c:pt>
                <c:pt idx="358">
                  <c:v>44558</c:v>
                </c:pt>
                <c:pt idx="359">
                  <c:v>44559</c:v>
                </c:pt>
                <c:pt idx="360">
                  <c:v>44560</c:v>
                </c:pt>
                <c:pt idx="361">
                  <c:v>44561</c:v>
                </c:pt>
                <c:pt idx="362">
                  <c:v>44562</c:v>
                </c:pt>
                <c:pt idx="363">
                  <c:v>44563</c:v>
                </c:pt>
                <c:pt idx="364">
                  <c:v>44564</c:v>
                </c:pt>
                <c:pt idx="365">
                  <c:v>44565</c:v>
                </c:pt>
                <c:pt idx="366">
                  <c:v>44566</c:v>
                </c:pt>
                <c:pt idx="367">
                  <c:v>44567</c:v>
                </c:pt>
                <c:pt idx="368">
                  <c:v>44568</c:v>
                </c:pt>
                <c:pt idx="369">
                  <c:v>44569</c:v>
                </c:pt>
                <c:pt idx="370">
                  <c:v>44570</c:v>
                </c:pt>
                <c:pt idx="371">
                  <c:v>44571</c:v>
                </c:pt>
                <c:pt idx="372">
                  <c:v>44572</c:v>
                </c:pt>
                <c:pt idx="373">
                  <c:v>44573</c:v>
                </c:pt>
                <c:pt idx="374">
                  <c:v>44574</c:v>
                </c:pt>
                <c:pt idx="375">
                  <c:v>44575</c:v>
                </c:pt>
                <c:pt idx="376">
                  <c:v>44576</c:v>
                </c:pt>
                <c:pt idx="377">
                  <c:v>44577</c:v>
                </c:pt>
                <c:pt idx="378">
                  <c:v>44578</c:v>
                </c:pt>
                <c:pt idx="379">
                  <c:v>44579</c:v>
                </c:pt>
                <c:pt idx="380">
                  <c:v>44580</c:v>
                </c:pt>
                <c:pt idx="381">
                  <c:v>44581</c:v>
                </c:pt>
                <c:pt idx="382">
                  <c:v>44582</c:v>
                </c:pt>
                <c:pt idx="383">
                  <c:v>44583</c:v>
                </c:pt>
                <c:pt idx="384">
                  <c:v>44584</c:v>
                </c:pt>
                <c:pt idx="385">
                  <c:v>44585</c:v>
                </c:pt>
                <c:pt idx="386">
                  <c:v>44586</c:v>
                </c:pt>
                <c:pt idx="387">
                  <c:v>44587</c:v>
                </c:pt>
                <c:pt idx="388">
                  <c:v>44588</c:v>
                </c:pt>
                <c:pt idx="389">
                  <c:v>44589</c:v>
                </c:pt>
                <c:pt idx="390">
                  <c:v>44590</c:v>
                </c:pt>
                <c:pt idx="391">
                  <c:v>44591</c:v>
                </c:pt>
                <c:pt idx="392">
                  <c:v>44592</c:v>
                </c:pt>
                <c:pt idx="393">
                  <c:v>44593</c:v>
                </c:pt>
                <c:pt idx="394">
                  <c:v>44594</c:v>
                </c:pt>
                <c:pt idx="395">
                  <c:v>44595</c:v>
                </c:pt>
                <c:pt idx="396">
                  <c:v>44596</c:v>
                </c:pt>
                <c:pt idx="397">
                  <c:v>44597</c:v>
                </c:pt>
                <c:pt idx="398">
                  <c:v>44599</c:v>
                </c:pt>
                <c:pt idx="399">
                  <c:v>44600</c:v>
                </c:pt>
                <c:pt idx="400">
                  <c:v>44601</c:v>
                </c:pt>
                <c:pt idx="401">
                  <c:v>44602</c:v>
                </c:pt>
                <c:pt idx="402">
                  <c:v>44603</c:v>
                </c:pt>
                <c:pt idx="403">
                  <c:v>44604</c:v>
                </c:pt>
                <c:pt idx="404">
                  <c:v>44605</c:v>
                </c:pt>
                <c:pt idx="405">
                  <c:v>44606</c:v>
                </c:pt>
                <c:pt idx="406">
                  <c:v>44607</c:v>
                </c:pt>
                <c:pt idx="407">
                  <c:v>44608</c:v>
                </c:pt>
                <c:pt idx="408">
                  <c:v>44609</c:v>
                </c:pt>
                <c:pt idx="409">
                  <c:v>44610</c:v>
                </c:pt>
                <c:pt idx="410">
                  <c:v>44611</c:v>
                </c:pt>
                <c:pt idx="411">
                  <c:v>44612</c:v>
                </c:pt>
                <c:pt idx="412">
                  <c:v>44613</c:v>
                </c:pt>
                <c:pt idx="413">
                  <c:v>44614</c:v>
                </c:pt>
                <c:pt idx="414">
                  <c:v>44615</c:v>
                </c:pt>
                <c:pt idx="415">
                  <c:v>44616</c:v>
                </c:pt>
                <c:pt idx="416">
                  <c:v>44617</c:v>
                </c:pt>
                <c:pt idx="417">
                  <c:v>44620</c:v>
                </c:pt>
                <c:pt idx="418">
                  <c:v>44621</c:v>
                </c:pt>
                <c:pt idx="419">
                  <c:v>44622</c:v>
                </c:pt>
                <c:pt idx="420">
                  <c:v>44623</c:v>
                </c:pt>
                <c:pt idx="421">
                  <c:v>44624</c:v>
                </c:pt>
                <c:pt idx="422">
                  <c:v>44625</c:v>
                </c:pt>
                <c:pt idx="423">
                  <c:v>44626</c:v>
                </c:pt>
                <c:pt idx="424">
                  <c:v>44627</c:v>
                </c:pt>
                <c:pt idx="425">
                  <c:v>44628</c:v>
                </c:pt>
                <c:pt idx="426">
                  <c:v>44629</c:v>
                </c:pt>
                <c:pt idx="427">
                  <c:v>44630</c:v>
                </c:pt>
                <c:pt idx="428">
                  <c:v>44631</c:v>
                </c:pt>
                <c:pt idx="429">
                  <c:v>44632</c:v>
                </c:pt>
                <c:pt idx="430">
                  <c:v>44633</c:v>
                </c:pt>
                <c:pt idx="431">
                  <c:v>44634</c:v>
                </c:pt>
                <c:pt idx="432">
                  <c:v>44635</c:v>
                </c:pt>
                <c:pt idx="433">
                  <c:v>44636</c:v>
                </c:pt>
                <c:pt idx="434">
                  <c:v>44637</c:v>
                </c:pt>
                <c:pt idx="435">
                  <c:v>44638</c:v>
                </c:pt>
                <c:pt idx="436">
                  <c:v>44639</c:v>
                </c:pt>
                <c:pt idx="437">
                  <c:v>44640</c:v>
                </c:pt>
                <c:pt idx="438">
                  <c:v>44641</c:v>
                </c:pt>
                <c:pt idx="439">
                  <c:v>44642</c:v>
                </c:pt>
                <c:pt idx="440">
                  <c:v>44643</c:v>
                </c:pt>
                <c:pt idx="441">
                  <c:v>44644</c:v>
                </c:pt>
                <c:pt idx="442">
                  <c:v>44645</c:v>
                </c:pt>
                <c:pt idx="443">
                  <c:v>44646</c:v>
                </c:pt>
                <c:pt idx="444">
                  <c:v>44647</c:v>
                </c:pt>
                <c:pt idx="445">
                  <c:v>44648</c:v>
                </c:pt>
                <c:pt idx="446">
                  <c:v>44649</c:v>
                </c:pt>
                <c:pt idx="447">
                  <c:v>44650</c:v>
                </c:pt>
                <c:pt idx="448">
                  <c:v>44651</c:v>
                </c:pt>
                <c:pt idx="449">
                  <c:v>44652</c:v>
                </c:pt>
                <c:pt idx="450">
                  <c:v>44653</c:v>
                </c:pt>
                <c:pt idx="451">
                  <c:v>44654</c:v>
                </c:pt>
                <c:pt idx="452">
                  <c:v>44655</c:v>
                </c:pt>
                <c:pt idx="453">
                  <c:v>44656</c:v>
                </c:pt>
                <c:pt idx="454">
                  <c:v>44657</c:v>
                </c:pt>
                <c:pt idx="455">
                  <c:v>44658</c:v>
                </c:pt>
                <c:pt idx="456">
                  <c:v>44659</c:v>
                </c:pt>
                <c:pt idx="457">
                  <c:v>44660</c:v>
                </c:pt>
                <c:pt idx="458">
                  <c:v>44661</c:v>
                </c:pt>
                <c:pt idx="459">
                  <c:v>44662</c:v>
                </c:pt>
                <c:pt idx="460">
                  <c:v>44663</c:v>
                </c:pt>
                <c:pt idx="461">
                  <c:v>44664</c:v>
                </c:pt>
                <c:pt idx="462">
                  <c:v>44665</c:v>
                </c:pt>
                <c:pt idx="463">
                  <c:v>44666</c:v>
                </c:pt>
                <c:pt idx="464">
                  <c:v>44667</c:v>
                </c:pt>
                <c:pt idx="465">
                  <c:v>44668</c:v>
                </c:pt>
                <c:pt idx="466">
                  <c:v>44669</c:v>
                </c:pt>
                <c:pt idx="467">
                  <c:v>44670</c:v>
                </c:pt>
                <c:pt idx="468">
                  <c:v>44671</c:v>
                </c:pt>
                <c:pt idx="469">
                  <c:v>44672</c:v>
                </c:pt>
                <c:pt idx="470">
                  <c:v>44673</c:v>
                </c:pt>
                <c:pt idx="471">
                  <c:v>44674</c:v>
                </c:pt>
                <c:pt idx="472">
                  <c:v>44675</c:v>
                </c:pt>
                <c:pt idx="473">
                  <c:v>44676</c:v>
                </c:pt>
                <c:pt idx="474">
                  <c:v>44677</c:v>
                </c:pt>
                <c:pt idx="475">
                  <c:v>44678</c:v>
                </c:pt>
                <c:pt idx="476">
                  <c:v>44679</c:v>
                </c:pt>
                <c:pt idx="477">
                  <c:v>44680</c:v>
                </c:pt>
                <c:pt idx="478">
                  <c:v>44681</c:v>
                </c:pt>
                <c:pt idx="479">
                  <c:v>44682</c:v>
                </c:pt>
                <c:pt idx="480">
                  <c:v>44683</c:v>
                </c:pt>
                <c:pt idx="481">
                  <c:v>44684</c:v>
                </c:pt>
                <c:pt idx="482">
                  <c:v>44685</c:v>
                </c:pt>
                <c:pt idx="483">
                  <c:v>44686</c:v>
                </c:pt>
                <c:pt idx="484">
                  <c:v>44687</c:v>
                </c:pt>
                <c:pt idx="485">
                  <c:v>44688</c:v>
                </c:pt>
                <c:pt idx="486">
                  <c:v>44689</c:v>
                </c:pt>
                <c:pt idx="487">
                  <c:v>44690</c:v>
                </c:pt>
                <c:pt idx="488">
                  <c:v>44691</c:v>
                </c:pt>
                <c:pt idx="489">
                  <c:v>44692</c:v>
                </c:pt>
                <c:pt idx="490">
                  <c:v>44693</c:v>
                </c:pt>
                <c:pt idx="491">
                  <c:v>44694</c:v>
                </c:pt>
                <c:pt idx="492">
                  <c:v>44695</c:v>
                </c:pt>
                <c:pt idx="493">
                  <c:v>44696</c:v>
                </c:pt>
                <c:pt idx="494">
                  <c:v>44697</c:v>
                </c:pt>
                <c:pt idx="495">
                  <c:v>44698</c:v>
                </c:pt>
                <c:pt idx="496">
                  <c:v>44699</c:v>
                </c:pt>
                <c:pt idx="497">
                  <c:v>44700</c:v>
                </c:pt>
                <c:pt idx="498">
                  <c:v>44701</c:v>
                </c:pt>
                <c:pt idx="499">
                  <c:v>44702</c:v>
                </c:pt>
                <c:pt idx="500">
                  <c:v>44703</c:v>
                </c:pt>
                <c:pt idx="501">
                  <c:v>44704</c:v>
                </c:pt>
                <c:pt idx="502">
                  <c:v>44705</c:v>
                </c:pt>
                <c:pt idx="503">
                  <c:v>44706</c:v>
                </c:pt>
                <c:pt idx="504">
                  <c:v>44707</c:v>
                </c:pt>
                <c:pt idx="505">
                  <c:v>44708</c:v>
                </c:pt>
                <c:pt idx="506">
                  <c:v>44709</c:v>
                </c:pt>
                <c:pt idx="507">
                  <c:v>44710</c:v>
                </c:pt>
                <c:pt idx="508">
                  <c:v>44711</c:v>
                </c:pt>
                <c:pt idx="509">
                  <c:v>44712</c:v>
                </c:pt>
                <c:pt idx="510">
                  <c:v>44713</c:v>
                </c:pt>
                <c:pt idx="511">
                  <c:v>44714</c:v>
                </c:pt>
                <c:pt idx="512">
                  <c:v>44715</c:v>
                </c:pt>
                <c:pt idx="513">
                  <c:v>44716</c:v>
                </c:pt>
                <c:pt idx="514">
                  <c:v>44717</c:v>
                </c:pt>
                <c:pt idx="515">
                  <c:v>44718</c:v>
                </c:pt>
                <c:pt idx="516">
                  <c:v>44719</c:v>
                </c:pt>
                <c:pt idx="517">
                  <c:v>44720</c:v>
                </c:pt>
                <c:pt idx="518">
                  <c:v>44721</c:v>
                </c:pt>
                <c:pt idx="519">
                  <c:v>44722</c:v>
                </c:pt>
                <c:pt idx="520">
                  <c:v>44723</c:v>
                </c:pt>
                <c:pt idx="521">
                  <c:v>44724</c:v>
                </c:pt>
                <c:pt idx="522">
                  <c:v>44725</c:v>
                </c:pt>
                <c:pt idx="523">
                  <c:v>44726</c:v>
                </c:pt>
                <c:pt idx="524">
                  <c:v>44727</c:v>
                </c:pt>
                <c:pt idx="525">
                  <c:v>44728</c:v>
                </c:pt>
                <c:pt idx="526">
                  <c:v>44729</c:v>
                </c:pt>
                <c:pt idx="527">
                  <c:v>44730</c:v>
                </c:pt>
                <c:pt idx="528">
                  <c:v>44731</c:v>
                </c:pt>
                <c:pt idx="529">
                  <c:v>44732</c:v>
                </c:pt>
                <c:pt idx="530">
                  <c:v>44733</c:v>
                </c:pt>
                <c:pt idx="531">
                  <c:v>44734</c:v>
                </c:pt>
                <c:pt idx="532">
                  <c:v>44735</c:v>
                </c:pt>
                <c:pt idx="533">
                  <c:v>44736</c:v>
                </c:pt>
                <c:pt idx="534">
                  <c:v>44737</c:v>
                </c:pt>
                <c:pt idx="535">
                  <c:v>44738</c:v>
                </c:pt>
                <c:pt idx="536">
                  <c:v>44739</c:v>
                </c:pt>
                <c:pt idx="537">
                  <c:v>44740</c:v>
                </c:pt>
                <c:pt idx="538">
                  <c:v>44741</c:v>
                </c:pt>
                <c:pt idx="539">
                  <c:v>44742</c:v>
                </c:pt>
                <c:pt idx="540">
                  <c:v>44743</c:v>
                </c:pt>
                <c:pt idx="541">
                  <c:v>44744</c:v>
                </c:pt>
                <c:pt idx="542">
                  <c:v>44745</c:v>
                </c:pt>
                <c:pt idx="543">
                  <c:v>44746</c:v>
                </c:pt>
                <c:pt idx="544">
                  <c:v>44747</c:v>
                </c:pt>
                <c:pt idx="545">
                  <c:v>44748</c:v>
                </c:pt>
                <c:pt idx="546">
                  <c:v>44749</c:v>
                </c:pt>
                <c:pt idx="547">
                  <c:v>44750</c:v>
                </c:pt>
                <c:pt idx="548">
                  <c:v>44751</c:v>
                </c:pt>
                <c:pt idx="549">
                  <c:v>44752</c:v>
                </c:pt>
                <c:pt idx="550">
                  <c:v>44753</c:v>
                </c:pt>
                <c:pt idx="551">
                  <c:v>44754</c:v>
                </c:pt>
                <c:pt idx="552">
                  <c:v>44755</c:v>
                </c:pt>
                <c:pt idx="553">
                  <c:v>44756</c:v>
                </c:pt>
                <c:pt idx="554">
                  <c:v>44757</c:v>
                </c:pt>
                <c:pt idx="555">
                  <c:v>44758</c:v>
                </c:pt>
                <c:pt idx="556">
                  <c:v>44759</c:v>
                </c:pt>
                <c:pt idx="557">
                  <c:v>44760</c:v>
                </c:pt>
                <c:pt idx="558">
                  <c:v>44761</c:v>
                </c:pt>
                <c:pt idx="559">
                  <c:v>44762</c:v>
                </c:pt>
                <c:pt idx="560">
                  <c:v>44763</c:v>
                </c:pt>
                <c:pt idx="561">
                  <c:v>44764</c:v>
                </c:pt>
                <c:pt idx="562">
                  <c:v>44765</c:v>
                </c:pt>
                <c:pt idx="563">
                  <c:v>44766</c:v>
                </c:pt>
                <c:pt idx="564">
                  <c:v>44767</c:v>
                </c:pt>
                <c:pt idx="565">
                  <c:v>44768</c:v>
                </c:pt>
                <c:pt idx="566">
                  <c:v>44769</c:v>
                </c:pt>
                <c:pt idx="567">
                  <c:v>44770</c:v>
                </c:pt>
                <c:pt idx="568">
                  <c:v>44771</c:v>
                </c:pt>
                <c:pt idx="569">
                  <c:v>44772</c:v>
                </c:pt>
                <c:pt idx="570">
                  <c:v>44773</c:v>
                </c:pt>
                <c:pt idx="571">
                  <c:v>44774</c:v>
                </c:pt>
                <c:pt idx="572">
                  <c:v>44775</c:v>
                </c:pt>
                <c:pt idx="573">
                  <c:v>44776</c:v>
                </c:pt>
                <c:pt idx="574">
                  <c:v>44777</c:v>
                </c:pt>
                <c:pt idx="575">
                  <c:v>44778</c:v>
                </c:pt>
                <c:pt idx="576">
                  <c:v>44779</c:v>
                </c:pt>
                <c:pt idx="577">
                  <c:v>44780</c:v>
                </c:pt>
                <c:pt idx="578">
                  <c:v>44781</c:v>
                </c:pt>
                <c:pt idx="579">
                  <c:v>44782</c:v>
                </c:pt>
                <c:pt idx="580">
                  <c:v>44783</c:v>
                </c:pt>
                <c:pt idx="581">
                  <c:v>44784</c:v>
                </c:pt>
                <c:pt idx="582">
                  <c:v>44785</c:v>
                </c:pt>
                <c:pt idx="583">
                  <c:v>44786</c:v>
                </c:pt>
                <c:pt idx="584">
                  <c:v>44787</c:v>
                </c:pt>
                <c:pt idx="585">
                  <c:v>44788</c:v>
                </c:pt>
                <c:pt idx="586">
                  <c:v>44789</c:v>
                </c:pt>
                <c:pt idx="587">
                  <c:v>44790</c:v>
                </c:pt>
                <c:pt idx="588">
                  <c:v>44791</c:v>
                </c:pt>
                <c:pt idx="589">
                  <c:v>44792</c:v>
                </c:pt>
                <c:pt idx="590">
                  <c:v>44793</c:v>
                </c:pt>
                <c:pt idx="591">
                  <c:v>44794</c:v>
                </c:pt>
                <c:pt idx="592">
                  <c:v>44795</c:v>
                </c:pt>
                <c:pt idx="593">
                  <c:v>44796</c:v>
                </c:pt>
                <c:pt idx="594">
                  <c:v>44797</c:v>
                </c:pt>
                <c:pt idx="595">
                  <c:v>44798</c:v>
                </c:pt>
                <c:pt idx="596">
                  <c:v>44799</c:v>
                </c:pt>
                <c:pt idx="597">
                  <c:v>44800</c:v>
                </c:pt>
                <c:pt idx="598">
                  <c:v>44801</c:v>
                </c:pt>
                <c:pt idx="599">
                  <c:v>44802</c:v>
                </c:pt>
                <c:pt idx="600">
                  <c:v>44803</c:v>
                </c:pt>
                <c:pt idx="601">
                  <c:v>44804</c:v>
                </c:pt>
                <c:pt idx="602">
                  <c:v>44805</c:v>
                </c:pt>
                <c:pt idx="603">
                  <c:v>44806</c:v>
                </c:pt>
                <c:pt idx="604">
                  <c:v>44807</c:v>
                </c:pt>
                <c:pt idx="605">
                  <c:v>44808</c:v>
                </c:pt>
                <c:pt idx="606">
                  <c:v>44809</c:v>
                </c:pt>
                <c:pt idx="607">
                  <c:v>44810</c:v>
                </c:pt>
                <c:pt idx="608">
                  <c:v>44811</c:v>
                </c:pt>
                <c:pt idx="609">
                  <c:v>44812</c:v>
                </c:pt>
                <c:pt idx="610">
                  <c:v>44813</c:v>
                </c:pt>
                <c:pt idx="611">
                  <c:v>44814</c:v>
                </c:pt>
                <c:pt idx="612">
                  <c:v>44815</c:v>
                </c:pt>
                <c:pt idx="613">
                  <c:v>44816</c:v>
                </c:pt>
                <c:pt idx="614">
                  <c:v>44817</c:v>
                </c:pt>
                <c:pt idx="615">
                  <c:v>44818</c:v>
                </c:pt>
                <c:pt idx="616">
                  <c:v>44819</c:v>
                </c:pt>
                <c:pt idx="617">
                  <c:v>44820</c:v>
                </c:pt>
                <c:pt idx="618">
                  <c:v>44821</c:v>
                </c:pt>
                <c:pt idx="619">
                  <c:v>44822</c:v>
                </c:pt>
                <c:pt idx="620">
                  <c:v>44823</c:v>
                </c:pt>
                <c:pt idx="621">
                  <c:v>44824</c:v>
                </c:pt>
                <c:pt idx="622">
                  <c:v>44825</c:v>
                </c:pt>
                <c:pt idx="623">
                  <c:v>44826</c:v>
                </c:pt>
                <c:pt idx="624">
                  <c:v>44827</c:v>
                </c:pt>
                <c:pt idx="625">
                  <c:v>44828</c:v>
                </c:pt>
                <c:pt idx="626">
                  <c:v>44829</c:v>
                </c:pt>
                <c:pt idx="627">
                  <c:v>44830</c:v>
                </c:pt>
                <c:pt idx="628">
                  <c:v>44831</c:v>
                </c:pt>
                <c:pt idx="629">
                  <c:v>44832</c:v>
                </c:pt>
                <c:pt idx="630">
                  <c:v>44833</c:v>
                </c:pt>
                <c:pt idx="631">
                  <c:v>44834</c:v>
                </c:pt>
                <c:pt idx="632">
                  <c:v>44835</c:v>
                </c:pt>
                <c:pt idx="633">
                  <c:v>44836</c:v>
                </c:pt>
                <c:pt idx="634">
                  <c:v>44837</c:v>
                </c:pt>
                <c:pt idx="635">
                  <c:v>44838</c:v>
                </c:pt>
                <c:pt idx="636">
                  <c:v>44839</c:v>
                </c:pt>
                <c:pt idx="637">
                  <c:v>44840</c:v>
                </c:pt>
                <c:pt idx="638">
                  <c:v>44841</c:v>
                </c:pt>
                <c:pt idx="639">
                  <c:v>44842</c:v>
                </c:pt>
                <c:pt idx="640">
                  <c:v>44843</c:v>
                </c:pt>
                <c:pt idx="641">
                  <c:v>44844</c:v>
                </c:pt>
                <c:pt idx="642">
                  <c:v>44845</c:v>
                </c:pt>
                <c:pt idx="643">
                  <c:v>44846</c:v>
                </c:pt>
                <c:pt idx="644">
                  <c:v>44847</c:v>
                </c:pt>
                <c:pt idx="645">
                  <c:v>44848</c:v>
                </c:pt>
                <c:pt idx="646">
                  <c:v>44849</c:v>
                </c:pt>
                <c:pt idx="647">
                  <c:v>44850</c:v>
                </c:pt>
                <c:pt idx="648">
                  <c:v>44851</c:v>
                </c:pt>
                <c:pt idx="649">
                  <c:v>44852</c:v>
                </c:pt>
                <c:pt idx="650">
                  <c:v>44853</c:v>
                </c:pt>
                <c:pt idx="651">
                  <c:v>44854</c:v>
                </c:pt>
                <c:pt idx="652">
                  <c:v>44855</c:v>
                </c:pt>
                <c:pt idx="653">
                  <c:v>44856</c:v>
                </c:pt>
                <c:pt idx="654">
                  <c:v>44857</c:v>
                </c:pt>
                <c:pt idx="655">
                  <c:v>44858</c:v>
                </c:pt>
                <c:pt idx="656">
                  <c:v>44859</c:v>
                </c:pt>
                <c:pt idx="657">
                  <c:v>44860</c:v>
                </c:pt>
                <c:pt idx="658">
                  <c:v>44861</c:v>
                </c:pt>
                <c:pt idx="659">
                  <c:v>44862</c:v>
                </c:pt>
                <c:pt idx="660">
                  <c:v>44863</c:v>
                </c:pt>
                <c:pt idx="661">
                  <c:v>44864</c:v>
                </c:pt>
                <c:pt idx="662">
                  <c:v>44865</c:v>
                </c:pt>
                <c:pt idx="663">
                  <c:v>44866</c:v>
                </c:pt>
                <c:pt idx="664">
                  <c:v>44867</c:v>
                </c:pt>
                <c:pt idx="665">
                  <c:v>44868</c:v>
                </c:pt>
                <c:pt idx="666">
                  <c:v>44869</c:v>
                </c:pt>
                <c:pt idx="667">
                  <c:v>44870</c:v>
                </c:pt>
                <c:pt idx="668">
                  <c:v>44871</c:v>
                </c:pt>
                <c:pt idx="669">
                  <c:v>44872</c:v>
                </c:pt>
                <c:pt idx="670">
                  <c:v>44873</c:v>
                </c:pt>
                <c:pt idx="671">
                  <c:v>44874</c:v>
                </c:pt>
                <c:pt idx="672">
                  <c:v>44875</c:v>
                </c:pt>
                <c:pt idx="673">
                  <c:v>44876</c:v>
                </c:pt>
                <c:pt idx="674">
                  <c:v>44877</c:v>
                </c:pt>
                <c:pt idx="675">
                  <c:v>44878</c:v>
                </c:pt>
                <c:pt idx="676">
                  <c:v>44879</c:v>
                </c:pt>
                <c:pt idx="677">
                  <c:v>44880</c:v>
                </c:pt>
                <c:pt idx="678">
                  <c:v>44881</c:v>
                </c:pt>
                <c:pt idx="679">
                  <c:v>44882</c:v>
                </c:pt>
                <c:pt idx="680">
                  <c:v>44883</c:v>
                </c:pt>
                <c:pt idx="681">
                  <c:v>44884</c:v>
                </c:pt>
                <c:pt idx="682">
                  <c:v>44885</c:v>
                </c:pt>
                <c:pt idx="683">
                  <c:v>44886</c:v>
                </c:pt>
                <c:pt idx="684">
                  <c:v>44887</c:v>
                </c:pt>
                <c:pt idx="685">
                  <c:v>44888</c:v>
                </c:pt>
                <c:pt idx="686">
                  <c:v>44889</c:v>
                </c:pt>
                <c:pt idx="687">
                  <c:v>44890</c:v>
                </c:pt>
                <c:pt idx="688">
                  <c:v>44891</c:v>
                </c:pt>
                <c:pt idx="689">
                  <c:v>44892</c:v>
                </c:pt>
                <c:pt idx="690">
                  <c:v>44893</c:v>
                </c:pt>
                <c:pt idx="691">
                  <c:v>44894</c:v>
                </c:pt>
                <c:pt idx="692">
                  <c:v>44895</c:v>
                </c:pt>
                <c:pt idx="693">
                  <c:v>44896</c:v>
                </c:pt>
                <c:pt idx="694">
                  <c:v>44897</c:v>
                </c:pt>
                <c:pt idx="695">
                  <c:v>44898</c:v>
                </c:pt>
                <c:pt idx="696">
                  <c:v>44899</c:v>
                </c:pt>
                <c:pt idx="697">
                  <c:v>44900</c:v>
                </c:pt>
                <c:pt idx="698">
                  <c:v>44901</c:v>
                </c:pt>
                <c:pt idx="699">
                  <c:v>44902</c:v>
                </c:pt>
                <c:pt idx="700">
                  <c:v>44903</c:v>
                </c:pt>
                <c:pt idx="701">
                  <c:v>44904</c:v>
                </c:pt>
                <c:pt idx="702">
                  <c:v>44905</c:v>
                </c:pt>
                <c:pt idx="703">
                  <c:v>44906</c:v>
                </c:pt>
                <c:pt idx="704">
                  <c:v>44907</c:v>
                </c:pt>
                <c:pt idx="705">
                  <c:v>44908</c:v>
                </c:pt>
                <c:pt idx="706">
                  <c:v>44909</c:v>
                </c:pt>
                <c:pt idx="707">
                  <c:v>44910</c:v>
                </c:pt>
                <c:pt idx="708">
                  <c:v>44911</c:v>
                </c:pt>
                <c:pt idx="709">
                  <c:v>44912</c:v>
                </c:pt>
                <c:pt idx="710">
                  <c:v>44913</c:v>
                </c:pt>
                <c:pt idx="711">
                  <c:v>44914</c:v>
                </c:pt>
                <c:pt idx="712">
                  <c:v>44915</c:v>
                </c:pt>
                <c:pt idx="713">
                  <c:v>44916</c:v>
                </c:pt>
                <c:pt idx="714">
                  <c:v>44917</c:v>
                </c:pt>
                <c:pt idx="715">
                  <c:v>44918</c:v>
                </c:pt>
                <c:pt idx="716">
                  <c:v>44919</c:v>
                </c:pt>
                <c:pt idx="717">
                  <c:v>44920</c:v>
                </c:pt>
                <c:pt idx="718">
                  <c:v>44921</c:v>
                </c:pt>
                <c:pt idx="719">
                  <c:v>44922</c:v>
                </c:pt>
                <c:pt idx="720">
                  <c:v>44923</c:v>
                </c:pt>
                <c:pt idx="721">
                  <c:v>44924</c:v>
                </c:pt>
                <c:pt idx="722">
                  <c:v>44925</c:v>
                </c:pt>
                <c:pt idx="723">
                  <c:v>44926</c:v>
                </c:pt>
                <c:pt idx="724">
                  <c:v>44927</c:v>
                </c:pt>
                <c:pt idx="725">
                  <c:v>44928</c:v>
                </c:pt>
                <c:pt idx="726">
                  <c:v>44929</c:v>
                </c:pt>
                <c:pt idx="727">
                  <c:v>44930</c:v>
                </c:pt>
                <c:pt idx="728">
                  <c:v>44931</c:v>
                </c:pt>
                <c:pt idx="729">
                  <c:v>44932</c:v>
                </c:pt>
                <c:pt idx="730">
                  <c:v>44933</c:v>
                </c:pt>
                <c:pt idx="731">
                  <c:v>44934</c:v>
                </c:pt>
                <c:pt idx="732">
                  <c:v>44935</c:v>
                </c:pt>
                <c:pt idx="733">
                  <c:v>44936</c:v>
                </c:pt>
                <c:pt idx="734">
                  <c:v>44937</c:v>
                </c:pt>
                <c:pt idx="735">
                  <c:v>44938</c:v>
                </c:pt>
                <c:pt idx="736">
                  <c:v>44939</c:v>
                </c:pt>
                <c:pt idx="737">
                  <c:v>44940</c:v>
                </c:pt>
                <c:pt idx="738">
                  <c:v>44941</c:v>
                </c:pt>
                <c:pt idx="739">
                  <c:v>44942</c:v>
                </c:pt>
                <c:pt idx="740">
                  <c:v>44943</c:v>
                </c:pt>
                <c:pt idx="741">
                  <c:v>44944</c:v>
                </c:pt>
                <c:pt idx="742">
                  <c:v>44945</c:v>
                </c:pt>
                <c:pt idx="743">
                  <c:v>44946</c:v>
                </c:pt>
                <c:pt idx="744">
                  <c:v>44947</c:v>
                </c:pt>
                <c:pt idx="745">
                  <c:v>44948</c:v>
                </c:pt>
                <c:pt idx="746">
                  <c:v>44949</c:v>
                </c:pt>
                <c:pt idx="747">
                  <c:v>44950</c:v>
                </c:pt>
                <c:pt idx="748">
                  <c:v>44951</c:v>
                </c:pt>
                <c:pt idx="749">
                  <c:v>44952</c:v>
                </c:pt>
                <c:pt idx="750">
                  <c:v>44953</c:v>
                </c:pt>
                <c:pt idx="751">
                  <c:v>44954</c:v>
                </c:pt>
                <c:pt idx="752">
                  <c:v>44955</c:v>
                </c:pt>
                <c:pt idx="753">
                  <c:v>44956</c:v>
                </c:pt>
                <c:pt idx="754">
                  <c:v>44957</c:v>
                </c:pt>
                <c:pt idx="755">
                  <c:v>44958</c:v>
                </c:pt>
                <c:pt idx="756">
                  <c:v>44959</c:v>
                </c:pt>
                <c:pt idx="757">
                  <c:v>44960</c:v>
                </c:pt>
                <c:pt idx="758">
                  <c:v>44961</c:v>
                </c:pt>
                <c:pt idx="759">
                  <c:v>44962</c:v>
                </c:pt>
                <c:pt idx="760">
                  <c:v>44963</c:v>
                </c:pt>
                <c:pt idx="761">
                  <c:v>44964</c:v>
                </c:pt>
                <c:pt idx="762">
                  <c:v>44965</c:v>
                </c:pt>
                <c:pt idx="763">
                  <c:v>44966</c:v>
                </c:pt>
                <c:pt idx="764">
                  <c:v>44967</c:v>
                </c:pt>
                <c:pt idx="765">
                  <c:v>44968</c:v>
                </c:pt>
                <c:pt idx="766">
                  <c:v>44969</c:v>
                </c:pt>
                <c:pt idx="767">
                  <c:v>44970</c:v>
                </c:pt>
                <c:pt idx="768">
                  <c:v>44971</c:v>
                </c:pt>
                <c:pt idx="769">
                  <c:v>44972</c:v>
                </c:pt>
                <c:pt idx="770">
                  <c:v>44973</c:v>
                </c:pt>
                <c:pt idx="771">
                  <c:v>44974</c:v>
                </c:pt>
                <c:pt idx="772">
                  <c:v>44975</c:v>
                </c:pt>
                <c:pt idx="773">
                  <c:v>44976</c:v>
                </c:pt>
                <c:pt idx="774">
                  <c:v>44977</c:v>
                </c:pt>
                <c:pt idx="775">
                  <c:v>44978</c:v>
                </c:pt>
                <c:pt idx="776">
                  <c:v>44979</c:v>
                </c:pt>
                <c:pt idx="777">
                  <c:v>44980</c:v>
                </c:pt>
                <c:pt idx="778">
                  <c:v>44981</c:v>
                </c:pt>
                <c:pt idx="779">
                  <c:v>44982</c:v>
                </c:pt>
                <c:pt idx="780">
                  <c:v>44983</c:v>
                </c:pt>
                <c:pt idx="781">
                  <c:v>44984</c:v>
                </c:pt>
                <c:pt idx="782">
                  <c:v>44985</c:v>
                </c:pt>
                <c:pt idx="783">
                  <c:v>44986</c:v>
                </c:pt>
                <c:pt idx="784">
                  <c:v>44987</c:v>
                </c:pt>
                <c:pt idx="785">
                  <c:v>44988</c:v>
                </c:pt>
                <c:pt idx="786">
                  <c:v>44989</c:v>
                </c:pt>
                <c:pt idx="787">
                  <c:v>44990</c:v>
                </c:pt>
                <c:pt idx="788">
                  <c:v>44991</c:v>
                </c:pt>
                <c:pt idx="789">
                  <c:v>44992</c:v>
                </c:pt>
                <c:pt idx="790">
                  <c:v>44993</c:v>
                </c:pt>
                <c:pt idx="791">
                  <c:v>44994</c:v>
                </c:pt>
                <c:pt idx="792">
                  <c:v>44995</c:v>
                </c:pt>
                <c:pt idx="793">
                  <c:v>44996</c:v>
                </c:pt>
                <c:pt idx="794">
                  <c:v>44997</c:v>
                </c:pt>
                <c:pt idx="795">
                  <c:v>44998</c:v>
                </c:pt>
                <c:pt idx="796">
                  <c:v>44999</c:v>
                </c:pt>
                <c:pt idx="797">
                  <c:v>45000</c:v>
                </c:pt>
                <c:pt idx="798">
                  <c:v>45001</c:v>
                </c:pt>
                <c:pt idx="799">
                  <c:v>45002</c:v>
                </c:pt>
                <c:pt idx="800">
                  <c:v>45003</c:v>
                </c:pt>
                <c:pt idx="801">
                  <c:v>45004</c:v>
                </c:pt>
                <c:pt idx="802">
                  <c:v>45005</c:v>
                </c:pt>
                <c:pt idx="803">
                  <c:v>45006</c:v>
                </c:pt>
                <c:pt idx="804">
                  <c:v>45007</c:v>
                </c:pt>
                <c:pt idx="805">
                  <c:v>45008</c:v>
                </c:pt>
                <c:pt idx="806">
                  <c:v>45009</c:v>
                </c:pt>
                <c:pt idx="807">
                  <c:v>45010</c:v>
                </c:pt>
                <c:pt idx="808">
                  <c:v>45011</c:v>
                </c:pt>
                <c:pt idx="809">
                  <c:v>45012</c:v>
                </c:pt>
                <c:pt idx="810">
                  <c:v>45013</c:v>
                </c:pt>
                <c:pt idx="811">
                  <c:v>45014</c:v>
                </c:pt>
                <c:pt idx="812">
                  <c:v>45015</c:v>
                </c:pt>
                <c:pt idx="813">
                  <c:v>45016</c:v>
                </c:pt>
                <c:pt idx="814">
                  <c:v>45017</c:v>
                </c:pt>
                <c:pt idx="815">
                  <c:v>45018</c:v>
                </c:pt>
                <c:pt idx="816">
                  <c:v>45019</c:v>
                </c:pt>
                <c:pt idx="817">
                  <c:v>45020</c:v>
                </c:pt>
                <c:pt idx="818">
                  <c:v>45021</c:v>
                </c:pt>
                <c:pt idx="819">
                  <c:v>45022</c:v>
                </c:pt>
                <c:pt idx="820">
                  <c:v>45023</c:v>
                </c:pt>
                <c:pt idx="821">
                  <c:v>45024</c:v>
                </c:pt>
                <c:pt idx="822">
                  <c:v>45025</c:v>
                </c:pt>
                <c:pt idx="823">
                  <c:v>45026</c:v>
                </c:pt>
                <c:pt idx="824">
                  <c:v>45027</c:v>
                </c:pt>
                <c:pt idx="825">
                  <c:v>45028</c:v>
                </c:pt>
                <c:pt idx="826">
                  <c:v>45029</c:v>
                </c:pt>
                <c:pt idx="827">
                  <c:v>45030</c:v>
                </c:pt>
                <c:pt idx="828">
                  <c:v>45031</c:v>
                </c:pt>
                <c:pt idx="829">
                  <c:v>45032</c:v>
                </c:pt>
                <c:pt idx="830">
                  <c:v>45033</c:v>
                </c:pt>
                <c:pt idx="831">
                  <c:v>45034</c:v>
                </c:pt>
                <c:pt idx="832">
                  <c:v>45035</c:v>
                </c:pt>
                <c:pt idx="833">
                  <c:v>45036</c:v>
                </c:pt>
                <c:pt idx="834">
                  <c:v>45037</c:v>
                </c:pt>
                <c:pt idx="835">
                  <c:v>45038</c:v>
                </c:pt>
                <c:pt idx="836">
                  <c:v>45039</c:v>
                </c:pt>
                <c:pt idx="837">
                  <c:v>45040</c:v>
                </c:pt>
                <c:pt idx="838">
                  <c:v>45041</c:v>
                </c:pt>
                <c:pt idx="839">
                  <c:v>45042</c:v>
                </c:pt>
                <c:pt idx="840">
                  <c:v>45043</c:v>
                </c:pt>
                <c:pt idx="841">
                  <c:v>45044</c:v>
                </c:pt>
                <c:pt idx="842">
                  <c:v>45045</c:v>
                </c:pt>
                <c:pt idx="843">
                  <c:v>45046</c:v>
                </c:pt>
                <c:pt idx="844">
                  <c:v>45047</c:v>
                </c:pt>
                <c:pt idx="845">
                  <c:v>45048</c:v>
                </c:pt>
                <c:pt idx="846">
                  <c:v>45049</c:v>
                </c:pt>
                <c:pt idx="847">
                  <c:v>45050</c:v>
                </c:pt>
                <c:pt idx="848">
                  <c:v>45051</c:v>
                </c:pt>
                <c:pt idx="849">
                  <c:v>45052</c:v>
                </c:pt>
                <c:pt idx="850">
                  <c:v>45053</c:v>
                </c:pt>
                <c:pt idx="851">
                  <c:v>45054</c:v>
                </c:pt>
                <c:pt idx="852">
                  <c:v>45055</c:v>
                </c:pt>
                <c:pt idx="853">
                  <c:v>45056</c:v>
                </c:pt>
                <c:pt idx="854">
                  <c:v>45057</c:v>
                </c:pt>
                <c:pt idx="855">
                  <c:v>45058</c:v>
                </c:pt>
                <c:pt idx="856">
                  <c:v>45059</c:v>
                </c:pt>
                <c:pt idx="857">
                  <c:v>45060</c:v>
                </c:pt>
                <c:pt idx="858">
                  <c:v>45061</c:v>
                </c:pt>
                <c:pt idx="859">
                  <c:v>45062</c:v>
                </c:pt>
                <c:pt idx="860">
                  <c:v>45063</c:v>
                </c:pt>
                <c:pt idx="861">
                  <c:v>45064</c:v>
                </c:pt>
                <c:pt idx="862">
                  <c:v>45065</c:v>
                </c:pt>
                <c:pt idx="863">
                  <c:v>45066</c:v>
                </c:pt>
                <c:pt idx="864">
                  <c:v>45067</c:v>
                </c:pt>
                <c:pt idx="865">
                  <c:v>45068</c:v>
                </c:pt>
                <c:pt idx="866">
                  <c:v>45069</c:v>
                </c:pt>
                <c:pt idx="867">
                  <c:v>45070</c:v>
                </c:pt>
                <c:pt idx="868">
                  <c:v>45071</c:v>
                </c:pt>
                <c:pt idx="869">
                  <c:v>45072</c:v>
                </c:pt>
                <c:pt idx="870">
                  <c:v>45073</c:v>
                </c:pt>
                <c:pt idx="871">
                  <c:v>45074</c:v>
                </c:pt>
                <c:pt idx="872">
                  <c:v>45075</c:v>
                </c:pt>
                <c:pt idx="873">
                  <c:v>45076</c:v>
                </c:pt>
                <c:pt idx="874">
                  <c:v>45077</c:v>
                </c:pt>
                <c:pt idx="875">
                  <c:v>45078</c:v>
                </c:pt>
                <c:pt idx="876">
                  <c:v>45079</c:v>
                </c:pt>
                <c:pt idx="877">
                  <c:v>45080</c:v>
                </c:pt>
                <c:pt idx="878">
                  <c:v>45081</c:v>
                </c:pt>
                <c:pt idx="879">
                  <c:v>45082</c:v>
                </c:pt>
                <c:pt idx="880">
                  <c:v>45083</c:v>
                </c:pt>
                <c:pt idx="881">
                  <c:v>45084</c:v>
                </c:pt>
                <c:pt idx="882">
                  <c:v>45085</c:v>
                </c:pt>
                <c:pt idx="883">
                  <c:v>45086</c:v>
                </c:pt>
                <c:pt idx="884">
                  <c:v>45087</c:v>
                </c:pt>
                <c:pt idx="885">
                  <c:v>45088</c:v>
                </c:pt>
                <c:pt idx="886">
                  <c:v>45089</c:v>
                </c:pt>
                <c:pt idx="887">
                  <c:v>45090</c:v>
                </c:pt>
                <c:pt idx="888">
                  <c:v>45091</c:v>
                </c:pt>
                <c:pt idx="889">
                  <c:v>45092</c:v>
                </c:pt>
                <c:pt idx="890">
                  <c:v>45093</c:v>
                </c:pt>
                <c:pt idx="891">
                  <c:v>45094</c:v>
                </c:pt>
                <c:pt idx="892">
                  <c:v>45095</c:v>
                </c:pt>
                <c:pt idx="893">
                  <c:v>45096</c:v>
                </c:pt>
                <c:pt idx="894">
                  <c:v>45097</c:v>
                </c:pt>
                <c:pt idx="895">
                  <c:v>45098</c:v>
                </c:pt>
                <c:pt idx="896">
                  <c:v>45099</c:v>
                </c:pt>
                <c:pt idx="897">
                  <c:v>45100</c:v>
                </c:pt>
                <c:pt idx="898">
                  <c:v>45101</c:v>
                </c:pt>
                <c:pt idx="899">
                  <c:v>45102</c:v>
                </c:pt>
                <c:pt idx="900">
                  <c:v>45103</c:v>
                </c:pt>
                <c:pt idx="901">
                  <c:v>45104</c:v>
                </c:pt>
                <c:pt idx="902">
                  <c:v>45105</c:v>
                </c:pt>
                <c:pt idx="903">
                  <c:v>45106</c:v>
                </c:pt>
                <c:pt idx="904">
                  <c:v>45107</c:v>
                </c:pt>
                <c:pt idx="905">
                  <c:v>45108</c:v>
                </c:pt>
                <c:pt idx="906">
                  <c:v>45109</c:v>
                </c:pt>
                <c:pt idx="907">
                  <c:v>45110</c:v>
                </c:pt>
                <c:pt idx="908">
                  <c:v>45111</c:v>
                </c:pt>
                <c:pt idx="909">
                  <c:v>45112</c:v>
                </c:pt>
                <c:pt idx="910">
                  <c:v>45113</c:v>
                </c:pt>
                <c:pt idx="911">
                  <c:v>45114</c:v>
                </c:pt>
                <c:pt idx="912">
                  <c:v>45115</c:v>
                </c:pt>
                <c:pt idx="913">
                  <c:v>45116</c:v>
                </c:pt>
                <c:pt idx="914">
                  <c:v>45117</c:v>
                </c:pt>
                <c:pt idx="915">
                  <c:v>45118</c:v>
                </c:pt>
                <c:pt idx="916">
                  <c:v>45119</c:v>
                </c:pt>
                <c:pt idx="917">
                  <c:v>45120</c:v>
                </c:pt>
                <c:pt idx="918">
                  <c:v>45121</c:v>
                </c:pt>
                <c:pt idx="919">
                  <c:v>45122</c:v>
                </c:pt>
                <c:pt idx="920">
                  <c:v>45123</c:v>
                </c:pt>
                <c:pt idx="921">
                  <c:v>45124</c:v>
                </c:pt>
                <c:pt idx="922">
                  <c:v>45125</c:v>
                </c:pt>
                <c:pt idx="923">
                  <c:v>45126</c:v>
                </c:pt>
                <c:pt idx="924">
                  <c:v>45127</c:v>
                </c:pt>
                <c:pt idx="925">
                  <c:v>45128</c:v>
                </c:pt>
                <c:pt idx="926">
                  <c:v>45129</c:v>
                </c:pt>
                <c:pt idx="927">
                  <c:v>45130</c:v>
                </c:pt>
                <c:pt idx="928">
                  <c:v>45131</c:v>
                </c:pt>
                <c:pt idx="929">
                  <c:v>45132</c:v>
                </c:pt>
                <c:pt idx="930">
                  <c:v>45133</c:v>
                </c:pt>
                <c:pt idx="931">
                  <c:v>45134</c:v>
                </c:pt>
                <c:pt idx="932">
                  <c:v>45135</c:v>
                </c:pt>
                <c:pt idx="933">
                  <c:v>45136</c:v>
                </c:pt>
                <c:pt idx="934">
                  <c:v>45137</c:v>
                </c:pt>
                <c:pt idx="935">
                  <c:v>45138</c:v>
                </c:pt>
                <c:pt idx="936">
                  <c:v>45139</c:v>
                </c:pt>
                <c:pt idx="937">
                  <c:v>45140</c:v>
                </c:pt>
                <c:pt idx="938">
                  <c:v>45141</c:v>
                </c:pt>
                <c:pt idx="939">
                  <c:v>45142</c:v>
                </c:pt>
                <c:pt idx="940">
                  <c:v>45143</c:v>
                </c:pt>
                <c:pt idx="941">
                  <c:v>45144</c:v>
                </c:pt>
                <c:pt idx="942">
                  <c:v>45145</c:v>
                </c:pt>
                <c:pt idx="943">
                  <c:v>45146</c:v>
                </c:pt>
                <c:pt idx="944">
                  <c:v>45147</c:v>
                </c:pt>
                <c:pt idx="945">
                  <c:v>45148</c:v>
                </c:pt>
                <c:pt idx="946">
                  <c:v>45149</c:v>
                </c:pt>
                <c:pt idx="947">
                  <c:v>45150</c:v>
                </c:pt>
                <c:pt idx="948">
                  <c:v>45151</c:v>
                </c:pt>
                <c:pt idx="949">
                  <c:v>45152</c:v>
                </c:pt>
                <c:pt idx="950">
                  <c:v>45153</c:v>
                </c:pt>
                <c:pt idx="951">
                  <c:v>45154</c:v>
                </c:pt>
                <c:pt idx="952">
                  <c:v>45155</c:v>
                </c:pt>
                <c:pt idx="953">
                  <c:v>45156</c:v>
                </c:pt>
                <c:pt idx="954">
                  <c:v>45157</c:v>
                </c:pt>
                <c:pt idx="955">
                  <c:v>45158</c:v>
                </c:pt>
                <c:pt idx="956">
                  <c:v>45159</c:v>
                </c:pt>
                <c:pt idx="957">
                  <c:v>45160</c:v>
                </c:pt>
                <c:pt idx="958">
                  <c:v>45161</c:v>
                </c:pt>
                <c:pt idx="959">
                  <c:v>45162</c:v>
                </c:pt>
                <c:pt idx="960">
                  <c:v>45163</c:v>
                </c:pt>
                <c:pt idx="961">
                  <c:v>45164</c:v>
                </c:pt>
                <c:pt idx="962">
                  <c:v>45165</c:v>
                </c:pt>
                <c:pt idx="963">
                  <c:v>45166</c:v>
                </c:pt>
                <c:pt idx="964">
                  <c:v>45167</c:v>
                </c:pt>
                <c:pt idx="965">
                  <c:v>45168</c:v>
                </c:pt>
                <c:pt idx="966">
                  <c:v>45169</c:v>
                </c:pt>
                <c:pt idx="967">
                  <c:v>45170</c:v>
                </c:pt>
                <c:pt idx="968">
                  <c:v>45171</c:v>
                </c:pt>
                <c:pt idx="969">
                  <c:v>45172</c:v>
                </c:pt>
                <c:pt idx="970">
                  <c:v>45173</c:v>
                </c:pt>
                <c:pt idx="971">
                  <c:v>45174</c:v>
                </c:pt>
                <c:pt idx="972">
                  <c:v>45175</c:v>
                </c:pt>
                <c:pt idx="973">
                  <c:v>45176</c:v>
                </c:pt>
                <c:pt idx="974">
                  <c:v>45177</c:v>
                </c:pt>
                <c:pt idx="975">
                  <c:v>45178</c:v>
                </c:pt>
                <c:pt idx="976">
                  <c:v>45179</c:v>
                </c:pt>
                <c:pt idx="977">
                  <c:v>45180</c:v>
                </c:pt>
                <c:pt idx="978">
                  <c:v>45181</c:v>
                </c:pt>
                <c:pt idx="979">
                  <c:v>45182</c:v>
                </c:pt>
                <c:pt idx="980">
                  <c:v>45183</c:v>
                </c:pt>
                <c:pt idx="981">
                  <c:v>45184</c:v>
                </c:pt>
                <c:pt idx="982">
                  <c:v>45185</c:v>
                </c:pt>
                <c:pt idx="983">
                  <c:v>45186</c:v>
                </c:pt>
                <c:pt idx="984">
                  <c:v>45187</c:v>
                </c:pt>
                <c:pt idx="985">
                  <c:v>45188</c:v>
                </c:pt>
                <c:pt idx="986">
                  <c:v>45189</c:v>
                </c:pt>
                <c:pt idx="987">
                  <c:v>45190</c:v>
                </c:pt>
                <c:pt idx="988">
                  <c:v>45191</c:v>
                </c:pt>
                <c:pt idx="989">
                  <c:v>45192</c:v>
                </c:pt>
                <c:pt idx="990">
                  <c:v>45193</c:v>
                </c:pt>
                <c:pt idx="991">
                  <c:v>45194</c:v>
                </c:pt>
                <c:pt idx="992">
                  <c:v>45195</c:v>
                </c:pt>
                <c:pt idx="993">
                  <c:v>45196</c:v>
                </c:pt>
                <c:pt idx="994">
                  <c:v>45197</c:v>
                </c:pt>
                <c:pt idx="995">
                  <c:v>45198</c:v>
                </c:pt>
                <c:pt idx="996">
                  <c:v>45199</c:v>
                </c:pt>
                <c:pt idx="997">
                  <c:v>45200</c:v>
                </c:pt>
                <c:pt idx="998">
                  <c:v>45201</c:v>
                </c:pt>
                <c:pt idx="999">
                  <c:v>45202</c:v>
                </c:pt>
                <c:pt idx="1000">
                  <c:v>45203</c:v>
                </c:pt>
                <c:pt idx="1001">
                  <c:v>45204</c:v>
                </c:pt>
                <c:pt idx="1002">
                  <c:v>45205</c:v>
                </c:pt>
                <c:pt idx="1003">
                  <c:v>45206</c:v>
                </c:pt>
                <c:pt idx="1004">
                  <c:v>45207</c:v>
                </c:pt>
                <c:pt idx="1005">
                  <c:v>45208</c:v>
                </c:pt>
                <c:pt idx="1006">
                  <c:v>45209</c:v>
                </c:pt>
                <c:pt idx="1007">
                  <c:v>45210</c:v>
                </c:pt>
                <c:pt idx="1008">
                  <c:v>45211</c:v>
                </c:pt>
                <c:pt idx="1009">
                  <c:v>45212</c:v>
                </c:pt>
                <c:pt idx="1010">
                  <c:v>45213</c:v>
                </c:pt>
                <c:pt idx="1011">
                  <c:v>45214</c:v>
                </c:pt>
                <c:pt idx="1012">
                  <c:v>45215</c:v>
                </c:pt>
                <c:pt idx="1013">
                  <c:v>45216</c:v>
                </c:pt>
                <c:pt idx="1014">
                  <c:v>45217</c:v>
                </c:pt>
                <c:pt idx="1015">
                  <c:v>45218</c:v>
                </c:pt>
                <c:pt idx="1016">
                  <c:v>45219</c:v>
                </c:pt>
                <c:pt idx="1017">
                  <c:v>45220</c:v>
                </c:pt>
                <c:pt idx="1018">
                  <c:v>45221</c:v>
                </c:pt>
                <c:pt idx="1019">
                  <c:v>45222</c:v>
                </c:pt>
                <c:pt idx="1020">
                  <c:v>45223</c:v>
                </c:pt>
                <c:pt idx="1021">
                  <c:v>45224</c:v>
                </c:pt>
                <c:pt idx="1022">
                  <c:v>45225</c:v>
                </c:pt>
                <c:pt idx="1023">
                  <c:v>45226</c:v>
                </c:pt>
                <c:pt idx="1024">
                  <c:v>45227</c:v>
                </c:pt>
                <c:pt idx="1025">
                  <c:v>45228</c:v>
                </c:pt>
                <c:pt idx="1026">
                  <c:v>45229</c:v>
                </c:pt>
                <c:pt idx="1027">
                  <c:v>45230</c:v>
                </c:pt>
                <c:pt idx="1028">
                  <c:v>45231</c:v>
                </c:pt>
                <c:pt idx="1029">
                  <c:v>45232</c:v>
                </c:pt>
                <c:pt idx="1030">
                  <c:v>45233</c:v>
                </c:pt>
                <c:pt idx="1031">
                  <c:v>45234</c:v>
                </c:pt>
                <c:pt idx="1032">
                  <c:v>45235</c:v>
                </c:pt>
                <c:pt idx="1033">
                  <c:v>45236</c:v>
                </c:pt>
                <c:pt idx="1034">
                  <c:v>45237</c:v>
                </c:pt>
                <c:pt idx="1035">
                  <c:v>45238</c:v>
                </c:pt>
                <c:pt idx="1036">
                  <c:v>45239</c:v>
                </c:pt>
                <c:pt idx="1037">
                  <c:v>45240</c:v>
                </c:pt>
                <c:pt idx="1038">
                  <c:v>45241</c:v>
                </c:pt>
                <c:pt idx="1039">
                  <c:v>45242</c:v>
                </c:pt>
                <c:pt idx="1040">
                  <c:v>45243</c:v>
                </c:pt>
                <c:pt idx="1041">
                  <c:v>45244</c:v>
                </c:pt>
                <c:pt idx="1042">
                  <c:v>45245</c:v>
                </c:pt>
                <c:pt idx="1043">
                  <c:v>45246</c:v>
                </c:pt>
                <c:pt idx="1044">
                  <c:v>45247</c:v>
                </c:pt>
                <c:pt idx="1045">
                  <c:v>45248</c:v>
                </c:pt>
                <c:pt idx="1046">
                  <c:v>45249</c:v>
                </c:pt>
                <c:pt idx="1047">
                  <c:v>45250</c:v>
                </c:pt>
                <c:pt idx="1048">
                  <c:v>45251</c:v>
                </c:pt>
                <c:pt idx="1049">
                  <c:v>45252</c:v>
                </c:pt>
                <c:pt idx="1050">
                  <c:v>45253</c:v>
                </c:pt>
                <c:pt idx="1051">
                  <c:v>45254</c:v>
                </c:pt>
                <c:pt idx="1052">
                  <c:v>45255</c:v>
                </c:pt>
                <c:pt idx="1053">
                  <c:v>45256</c:v>
                </c:pt>
                <c:pt idx="1054">
                  <c:v>45257</c:v>
                </c:pt>
                <c:pt idx="1055">
                  <c:v>45258</c:v>
                </c:pt>
                <c:pt idx="1056">
                  <c:v>45259</c:v>
                </c:pt>
                <c:pt idx="1057">
                  <c:v>45260</c:v>
                </c:pt>
              </c:numCache>
            </c:numRef>
          </c:cat>
          <c:val>
            <c:numRef>
              <c:f>'ttf (2)'!$L$5533:$L$6590</c:f>
              <c:numCache>
                <c:formatCode>#,##0</c:formatCode>
                <c:ptCount val="1058"/>
                <c:pt idx="0">
                  <c:v>239.85153231600003</c:v>
                </c:pt>
                <c:pt idx="1">
                  <c:v>239.85153231600003</c:v>
                </c:pt>
                <c:pt idx="2">
                  <c:v>239.85153231600003</c:v>
                </c:pt>
                <c:pt idx="3">
                  <c:v>252.28543081599997</c:v>
                </c:pt>
                <c:pt idx="4">
                  <c:v>225.87360498000001</c:v>
                </c:pt>
                <c:pt idx="5">
                  <c:v>227.08102579999999</c:v>
                </c:pt>
                <c:pt idx="6">
                  <c:v>249.88099173000001</c:v>
                </c:pt>
                <c:pt idx="7">
                  <c:v>261.78477400799994</c:v>
                </c:pt>
                <c:pt idx="8">
                  <c:v>261.78477400799994</c:v>
                </c:pt>
                <c:pt idx="9">
                  <c:v>261.78477400799994</c:v>
                </c:pt>
                <c:pt idx="10">
                  <c:v>278.226010605</c:v>
                </c:pt>
                <c:pt idx="11">
                  <c:v>327.25223840399991</c:v>
                </c:pt>
                <c:pt idx="12">
                  <c:v>289.10516719099996</c:v>
                </c:pt>
                <c:pt idx="13">
                  <c:v>268.94949425999999</c:v>
                </c:pt>
                <c:pt idx="14">
                  <c:v>257.53494254399999</c:v>
                </c:pt>
                <c:pt idx="15">
                  <c:v>257.53494254399999</c:v>
                </c:pt>
                <c:pt idx="16">
                  <c:v>257.53494254399999</c:v>
                </c:pt>
                <c:pt idx="17">
                  <c:v>238.74285812800002</c:v>
                </c:pt>
                <c:pt idx="18">
                  <c:v>254.20736736000001</c:v>
                </c:pt>
                <c:pt idx="19">
                  <c:v>248.692875152</c:v>
                </c:pt>
                <c:pt idx="20">
                  <c:v>252.40229134799998</c:v>
                </c:pt>
                <c:pt idx="21">
                  <c:v>271.39678565799994</c:v>
                </c:pt>
                <c:pt idx="22">
                  <c:v>271.39678565799994</c:v>
                </c:pt>
                <c:pt idx="23">
                  <c:v>271.39678565799994</c:v>
                </c:pt>
                <c:pt idx="24">
                  <c:v>257.53670217999996</c:v>
                </c:pt>
                <c:pt idx="25">
                  <c:v>249.21414143999996</c:v>
                </c:pt>
                <c:pt idx="26">
                  <c:v>244.70191719599998</c:v>
                </c:pt>
                <c:pt idx="27">
                  <c:v>260.33374710999999</c:v>
                </c:pt>
                <c:pt idx="28">
                  <c:v>249.97844451199998</c:v>
                </c:pt>
                <c:pt idx="29">
                  <c:v>249.97844451199998</c:v>
                </c:pt>
                <c:pt idx="30">
                  <c:v>249.97844451199998</c:v>
                </c:pt>
                <c:pt idx="31">
                  <c:v>219.99577381500001</c:v>
                </c:pt>
                <c:pt idx="32">
                  <c:v>224.983022148</c:v>
                </c:pt>
                <c:pt idx="33">
                  <c:v>219.22828787200001</c:v>
                </c:pt>
                <c:pt idx="34">
                  <c:v>225.96469201999997</c:v>
                </c:pt>
                <c:pt idx="35">
                  <c:v>225.91785464999995</c:v>
                </c:pt>
                <c:pt idx="36">
                  <c:v>225.91785464999995</c:v>
                </c:pt>
                <c:pt idx="37">
                  <c:v>225.91785464999995</c:v>
                </c:pt>
                <c:pt idx="38">
                  <c:v>261.88352064000003</c:v>
                </c:pt>
                <c:pt idx="39">
                  <c:v>260.87493868799999</c:v>
                </c:pt>
                <c:pt idx="40">
                  <c:v>244.55007096</c:v>
                </c:pt>
                <c:pt idx="41">
                  <c:v>220.31305171200003</c:v>
                </c:pt>
                <c:pt idx="42">
                  <c:v>226.40294489199999</c:v>
                </c:pt>
                <c:pt idx="43">
                  <c:v>226.40294489199999</c:v>
                </c:pt>
                <c:pt idx="44">
                  <c:v>226.40294489199999</c:v>
                </c:pt>
                <c:pt idx="45">
                  <c:v>204.60436710799999</c:v>
                </c:pt>
                <c:pt idx="46">
                  <c:v>207.34846769599997</c:v>
                </c:pt>
                <c:pt idx="47">
                  <c:v>202.75757737199999</c:v>
                </c:pt>
                <c:pt idx="48">
                  <c:v>214.581606736</c:v>
                </c:pt>
                <c:pt idx="49">
                  <c:v>206.94406193999998</c:v>
                </c:pt>
                <c:pt idx="50">
                  <c:v>206.94406193999998</c:v>
                </c:pt>
                <c:pt idx="51">
                  <c:v>206.94406193999998</c:v>
                </c:pt>
                <c:pt idx="52">
                  <c:v>199.39874277199999</c:v>
                </c:pt>
                <c:pt idx="53">
                  <c:v>202.146129739</c:v>
                </c:pt>
                <c:pt idx="54">
                  <c:v>203.02524905999996</c:v>
                </c:pt>
                <c:pt idx="55">
                  <c:v>200.389831872</c:v>
                </c:pt>
                <c:pt idx="56">
                  <c:v>200.58577251600002</c:v>
                </c:pt>
                <c:pt idx="57">
                  <c:v>200.58577251600002</c:v>
                </c:pt>
                <c:pt idx="58">
                  <c:v>203.25462278800001</c:v>
                </c:pt>
                <c:pt idx="59">
                  <c:v>202.08627623799998</c:v>
                </c:pt>
                <c:pt idx="60">
                  <c:v>202.571314726</c:v>
                </c:pt>
                <c:pt idx="61">
                  <c:v>201.88800666400005</c:v>
                </c:pt>
                <c:pt idx="62">
                  <c:v>206.92043623899997</c:v>
                </c:pt>
                <c:pt idx="63">
                  <c:v>206.92043623899997</c:v>
                </c:pt>
                <c:pt idx="64">
                  <c:v>206.92043623899997</c:v>
                </c:pt>
                <c:pt idx="65">
                  <c:v>206.55492361399999</c:v>
                </c:pt>
                <c:pt idx="66">
                  <c:v>211.516683102</c:v>
                </c:pt>
                <c:pt idx="67">
                  <c:v>220.32842264999996</c:v>
                </c:pt>
                <c:pt idx="68">
                  <c:v>226.070166672</c:v>
                </c:pt>
                <c:pt idx="69">
                  <c:v>232.88927371199998</c:v>
                </c:pt>
                <c:pt idx="70">
                  <c:v>232.88927371199998</c:v>
                </c:pt>
                <c:pt idx="71">
                  <c:v>232.88927371199998</c:v>
                </c:pt>
                <c:pt idx="72">
                  <c:v>224.39644231200003</c:v>
                </c:pt>
                <c:pt idx="73">
                  <c:v>219.55858189999998</c:v>
                </c:pt>
                <c:pt idx="74">
                  <c:v>229.36648243999997</c:v>
                </c:pt>
                <c:pt idx="75">
                  <c:v>217.06041632</c:v>
                </c:pt>
                <c:pt idx="76">
                  <c:v>218.68989100999997</c:v>
                </c:pt>
                <c:pt idx="77">
                  <c:v>218.68989100999997</c:v>
                </c:pt>
                <c:pt idx="78">
                  <c:v>218.68989100999997</c:v>
                </c:pt>
                <c:pt idx="79">
                  <c:v>230.31891130199998</c:v>
                </c:pt>
                <c:pt idx="80">
                  <c:v>227.202880593</c:v>
                </c:pt>
                <c:pt idx="81">
                  <c:v>226.18775176</c:v>
                </c:pt>
                <c:pt idx="82">
                  <c:v>222.22443043999996</c:v>
                </c:pt>
                <c:pt idx="83">
                  <c:v>224.35514261999998</c:v>
                </c:pt>
                <c:pt idx="84">
                  <c:v>224.35514261999998</c:v>
                </c:pt>
                <c:pt idx="85">
                  <c:v>224.35514261999998</c:v>
                </c:pt>
                <c:pt idx="86">
                  <c:v>224.62157221199996</c:v>
                </c:pt>
                <c:pt idx="87">
                  <c:v>224.61427489799996</c:v>
                </c:pt>
                <c:pt idx="88">
                  <c:v>227.614092</c:v>
                </c:pt>
                <c:pt idx="89">
                  <c:v>234.0108864</c:v>
                </c:pt>
                <c:pt idx="90">
                  <c:v>237.40491371999997</c:v>
                </c:pt>
                <c:pt idx="91">
                  <c:v>237.40491371999997</c:v>
                </c:pt>
                <c:pt idx="92">
                  <c:v>237.40491371999997</c:v>
                </c:pt>
                <c:pt idx="93">
                  <c:v>242.672798118</c:v>
                </c:pt>
                <c:pt idx="94">
                  <c:v>251.97728749999999</c:v>
                </c:pt>
                <c:pt idx="95">
                  <c:v>246.34231198000001</c:v>
                </c:pt>
                <c:pt idx="96">
                  <c:v>237.96654812800003</c:v>
                </c:pt>
                <c:pt idx="97">
                  <c:v>239.49391217599998</c:v>
                </c:pt>
                <c:pt idx="98">
                  <c:v>239.49391217599998</c:v>
                </c:pt>
                <c:pt idx="99">
                  <c:v>239.49391217599998</c:v>
                </c:pt>
                <c:pt idx="100">
                  <c:v>255.47226099700003</c:v>
                </c:pt>
                <c:pt idx="101">
                  <c:v>250.70170666199996</c:v>
                </c:pt>
                <c:pt idx="102">
                  <c:v>251.06331186</c:v>
                </c:pt>
                <c:pt idx="103">
                  <c:v>257.91204806499996</c:v>
                </c:pt>
                <c:pt idx="104">
                  <c:v>262.95130916799997</c:v>
                </c:pt>
                <c:pt idx="105">
                  <c:v>262.95130916799997</c:v>
                </c:pt>
                <c:pt idx="106">
                  <c:v>262.95130916799997</c:v>
                </c:pt>
                <c:pt idx="107">
                  <c:v>261.55747043999997</c:v>
                </c:pt>
                <c:pt idx="108">
                  <c:v>259.68920279399998</c:v>
                </c:pt>
                <c:pt idx="109">
                  <c:v>266.22813955500004</c:v>
                </c:pt>
                <c:pt idx="110">
                  <c:v>268.31718976499997</c:v>
                </c:pt>
                <c:pt idx="111">
                  <c:v>250.46865839999998</c:v>
                </c:pt>
                <c:pt idx="112">
                  <c:v>250.46865839999998</c:v>
                </c:pt>
                <c:pt idx="113">
                  <c:v>250.46865839999998</c:v>
                </c:pt>
                <c:pt idx="114">
                  <c:v>249.51208921799997</c:v>
                </c:pt>
                <c:pt idx="115">
                  <c:v>275.93628426000004</c:v>
                </c:pt>
                <c:pt idx="116">
                  <c:v>272.61127089899998</c:v>
                </c:pt>
                <c:pt idx="117">
                  <c:v>285.98266723199998</c:v>
                </c:pt>
                <c:pt idx="118">
                  <c:v>297.30623541599999</c:v>
                </c:pt>
                <c:pt idx="119">
                  <c:v>297.30623541599999</c:v>
                </c:pt>
                <c:pt idx="120">
                  <c:v>297.30623541599999</c:v>
                </c:pt>
                <c:pt idx="121">
                  <c:v>302.73942208999995</c:v>
                </c:pt>
                <c:pt idx="122">
                  <c:v>298.73684536100001</c:v>
                </c:pt>
                <c:pt idx="123">
                  <c:v>307.54685114999995</c:v>
                </c:pt>
                <c:pt idx="124">
                  <c:v>315.92628953599996</c:v>
                </c:pt>
                <c:pt idx="125">
                  <c:v>307.18814417599998</c:v>
                </c:pt>
                <c:pt idx="126">
                  <c:v>307.18814417599998</c:v>
                </c:pt>
                <c:pt idx="127">
                  <c:v>307.18814417599998</c:v>
                </c:pt>
                <c:pt idx="128">
                  <c:v>311.03737380299998</c:v>
                </c:pt>
                <c:pt idx="129">
                  <c:v>329.07423797399997</c:v>
                </c:pt>
                <c:pt idx="130">
                  <c:v>328.23729816299999</c:v>
                </c:pt>
                <c:pt idx="131">
                  <c:v>327.856983894</c:v>
                </c:pt>
                <c:pt idx="132">
                  <c:v>339.27852239999999</c:v>
                </c:pt>
                <c:pt idx="133">
                  <c:v>339.27852239999999</c:v>
                </c:pt>
                <c:pt idx="134">
                  <c:v>339.27852239999999</c:v>
                </c:pt>
                <c:pt idx="135">
                  <c:v>337.07048974400004</c:v>
                </c:pt>
                <c:pt idx="136">
                  <c:v>326.96831595999998</c:v>
                </c:pt>
                <c:pt idx="137">
                  <c:v>286.31213319599999</c:v>
                </c:pt>
                <c:pt idx="138">
                  <c:v>313.52485218199996</c:v>
                </c:pt>
                <c:pt idx="139">
                  <c:v>314.52567103399997</c:v>
                </c:pt>
                <c:pt idx="140">
                  <c:v>314.52567103399997</c:v>
                </c:pt>
                <c:pt idx="141">
                  <c:v>314.52567103399997</c:v>
                </c:pt>
                <c:pt idx="142">
                  <c:v>313.55885455999999</c:v>
                </c:pt>
                <c:pt idx="143">
                  <c:v>341.08473700000002</c:v>
                </c:pt>
                <c:pt idx="144">
                  <c:v>338.78323662000003</c:v>
                </c:pt>
                <c:pt idx="145">
                  <c:v>321.17124691199996</c:v>
                </c:pt>
                <c:pt idx="146">
                  <c:v>322.03846281300002</c:v>
                </c:pt>
                <c:pt idx="147">
                  <c:v>322.03846281300002</c:v>
                </c:pt>
                <c:pt idx="148">
                  <c:v>322.03846281300002</c:v>
                </c:pt>
                <c:pt idx="149">
                  <c:v>324.57132944999995</c:v>
                </c:pt>
                <c:pt idx="150">
                  <c:v>327.991440786</c:v>
                </c:pt>
                <c:pt idx="151">
                  <c:v>322.25093886000002</c:v>
                </c:pt>
                <c:pt idx="152">
                  <c:v>322.51726494399998</c:v>
                </c:pt>
                <c:pt idx="153">
                  <c:v>325.49669096999997</c:v>
                </c:pt>
                <c:pt idx="154">
                  <c:v>325.49669096999997</c:v>
                </c:pt>
                <c:pt idx="155">
                  <c:v>325.49669096999997</c:v>
                </c:pt>
                <c:pt idx="156">
                  <c:v>337.49378571</c:v>
                </c:pt>
                <c:pt idx="157">
                  <c:v>355.26243477600002</c:v>
                </c:pt>
                <c:pt idx="158">
                  <c:v>352.94571871999995</c:v>
                </c:pt>
                <c:pt idx="159">
                  <c:v>356.46364511600001</c:v>
                </c:pt>
                <c:pt idx="160">
                  <c:v>355.871268832</c:v>
                </c:pt>
                <c:pt idx="161">
                  <c:v>355.871268832</c:v>
                </c:pt>
                <c:pt idx="162">
                  <c:v>355.871268832</c:v>
                </c:pt>
                <c:pt idx="163">
                  <c:v>364.37703873199996</c:v>
                </c:pt>
                <c:pt idx="164">
                  <c:v>350.12574676799994</c:v>
                </c:pt>
                <c:pt idx="165">
                  <c:v>349.47519898799993</c:v>
                </c:pt>
                <c:pt idx="166">
                  <c:v>360.46712754000004</c:v>
                </c:pt>
                <c:pt idx="167">
                  <c:v>363.06414325999998</c:v>
                </c:pt>
                <c:pt idx="168">
                  <c:v>363.06414325999998</c:v>
                </c:pt>
                <c:pt idx="169">
                  <c:v>363.06414325999998</c:v>
                </c:pt>
                <c:pt idx="170">
                  <c:v>369.06437263499998</c:v>
                </c:pt>
                <c:pt idx="171">
                  <c:v>391.09224651599993</c:v>
                </c:pt>
                <c:pt idx="172">
                  <c:v>395.60369444999992</c:v>
                </c:pt>
                <c:pt idx="173">
                  <c:v>393.91729035999998</c:v>
                </c:pt>
                <c:pt idx="174">
                  <c:v>398.33941088999995</c:v>
                </c:pt>
                <c:pt idx="175">
                  <c:v>398.33941088999995</c:v>
                </c:pt>
                <c:pt idx="176">
                  <c:v>398.33941088999995</c:v>
                </c:pt>
                <c:pt idx="177">
                  <c:v>404.82724057599989</c:v>
                </c:pt>
                <c:pt idx="178">
                  <c:v>417.07836982499992</c:v>
                </c:pt>
                <c:pt idx="179">
                  <c:v>436.22954936999992</c:v>
                </c:pt>
                <c:pt idx="180">
                  <c:v>443.33014641599999</c:v>
                </c:pt>
                <c:pt idx="181">
                  <c:v>436.86772794399997</c:v>
                </c:pt>
                <c:pt idx="182">
                  <c:v>436.86772794399997</c:v>
                </c:pt>
                <c:pt idx="183">
                  <c:v>436.86772794399997</c:v>
                </c:pt>
                <c:pt idx="184">
                  <c:v>461.00449969399989</c:v>
                </c:pt>
                <c:pt idx="185">
                  <c:v>404.42345586799996</c:v>
                </c:pt>
                <c:pt idx="186">
                  <c:v>401.46416214799996</c:v>
                </c:pt>
                <c:pt idx="187">
                  <c:v>403.26903114399994</c:v>
                </c:pt>
                <c:pt idx="188">
                  <c:v>449.79587714400003</c:v>
                </c:pt>
                <c:pt idx="189">
                  <c:v>449.79587714400003</c:v>
                </c:pt>
                <c:pt idx="190">
                  <c:v>449.79587714400003</c:v>
                </c:pt>
                <c:pt idx="191">
                  <c:v>425.022350055</c:v>
                </c:pt>
                <c:pt idx="192">
                  <c:v>427.76482039199999</c:v>
                </c:pt>
                <c:pt idx="193">
                  <c:v>417.11834978999991</c:v>
                </c:pt>
                <c:pt idx="194">
                  <c:v>415.69640864000002</c:v>
                </c:pt>
                <c:pt idx="195">
                  <c:v>435.00065064</c:v>
                </c:pt>
                <c:pt idx="196">
                  <c:v>435.00065064</c:v>
                </c:pt>
                <c:pt idx="197">
                  <c:v>435.00065064</c:v>
                </c:pt>
                <c:pt idx="198">
                  <c:v>442.06983300800005</c:v>
                </c:pt>
                <c:pt idx="199">
                  <c:v>428.55608729799991</c:v>
                </c:pt>
                <c:pt idx="200">
                  <c:v>438.18331462399999</c:v>
                </c:pt>
                <c:pt idx="201">
                  <c:v>434.62465782999999</c:v>
                </c:pt>
                <c:pt idx="202">
                  <c:v>432.22479897300002</c:v>
                </c:pt>
                <c:pt idx="203">
                  <c:v>432.22479897300002</c:v>
                </c:pt>
                <c:pt idx="204">
                  <c:v>432.22479897300002</c:v>
                </c:pt>
                <c:pt idx="205">
                  <c:v>451.87763003999999</c:v>
                </c:pt>
                <c:pt idx="206">
                  <c:v>460.40058226799994</c:v>
                </c:pt>
                <c:pt idx="207">
                  <c:v>484.47442115399997</c:v>
                </c:pt>
                <c:pt idx="208">
                  <c:v>506.57441423399996</c:v>
                </c:pt>
                <c:pt idx="209">
                  <c:v>497.29202381000005</c:v>
                </c:pt>
                <c:pt idx="210">
                  <c:v>497.29202381000005</c:v>
                </c:pt>
                <c:pt idx="211">
                  <c:v>497.29202381000005</c:v>
                </c:pt>
                <c:pt idx="212">
                  <c:v>516.51252783799998</c:v>
                </c:pt>
                <c:pt idx="213">
                  <c:v>504.54560567999994</c:v>
                </c:pt>
                <c:pt idx="214">
                  <c:v>510.83216406000003</c:v>
                </c:pt>
                <c:pt idx="215">
                  <c:v>519.27562214399995</c:v>
                </c:pt>
                <c:pt idx="216">
                  <c:v>520.98474623999994</c:v>
                </c:pt>
                <c:pt idx="217">
                  <c:v>520.98474623999994</c:v>
                </c:pt>
                <c:pt idx="218">
                  <c:v>520.98474623999994</c:v>
                </c:pt>
                <c:pt idx="219">
                  <c:v>521.78812358200003</c:v>
                </c:pt>
                <c:pt idx="220">
                  <c:v>537.924140964</c:v>
                </c:pt>
                <c:pt idx="221">
                  <c:v>563.70125574399992</c:v>
                </c:pt>
                <c:pt idx="222">
                  <c:v>546.22724219999998</c:v>
                </c:pt>
                <c:pt idx="223">
                  <c:v>542.19061133900004</c:v>
                </c:pt>
                <c:pt idx="224">
                  <c:v>542.19061133900004</c:v>
                </c:pt>
                <c:pt idx="225">
                  <c:v>542.19061133900004</c:v>
                </c:pt>
                <c:pt idx="226">
                  <c:v>579.94577538700003</c:v>
                </c:pt>
                <c:pt idx="227">
                  <c:v>561.096580432</c:v>
                </c:pt>
                <c:pt idx="228">
                  <c:v>537.25387491000004</c:v>
                </c:pt>
                <c:pt idx="229">
                  <c:v>486.96601397599994</c:v>
                </c:pt>
                <c:pt idx="230">
                  <c:v>502.41127071999995</c:v>
                </c:pt>
                <c:pt idx="231">
                  <c:v>502.41127071999995</c:v>
                </c:pt>
                <c:pt idx="232">
                  <c:v>502.41127071999995</c:v>
                </c:pt>
                <c:pt idx="233">
                  <c:v>511.72316092399996</c:v>
                </c:pt>
                <c:pt idx="234">
                  <c:v>550.17547722899997</c:v>
                </c:pt>
                <c:pt idx="235">
                  <c:v>543.35696536</c:v>
                </c:pt>
                <c:pt idx="236">
                  <c:v>551.85937124999998</c:v>
                </c:pt>
                <c:pt idx="237">
                  <c:v>581.64918066599989</c:v>
                </c:pt>
                <c:pt idx="238">
                  <c:v>581.64918066599989</c:v>
                </c:pt>
                <c:pt idx="239">
                  <c:v>581.64918066599989</c:v>
                </c:pt>
                <c:pt idx="240">
                  <c:v>604.02882648499997</c:v>
                </c:pt>
                <c:pt idx="241">
                  <c:v>607.08759139299991</c:v>
                </c:pt>
                <c:pt idx="242">
                  <c:v>605.56705887299995</c:v>
                </c:pt>
                <c:pt idx="243">
                  <c:v>630.45159829199997</c:v>
                </c:pt>
                <c:pt idx="244">
                  <c:v>628.46973061599999</c:v>
                </c:pt>
                <c:pt idx="245">
                  <c:v>628.46973061599999</c:v>
                </c:pt>
                <c:pt idx="246">
                  <c:v>628.46973061599999</c:v>
                </c:pt>
                <c:pt idx="247">
                  <c:v>640.62778029599997</c:v>
                </c:pt>
                <c:pt idx="248">
                  <c:v>658.3629186469999</c:v>
                </c:pt>
                <c:pt idx="249">
                  <c:v>668.8387821880001</c:v>
                </c:pt>
                <c:pt idx="250">
                  <c:v>695.2218327999999</c:v>
                </c:pt>
                <c:pt idx="251">
                  <c:v>709.55494783799998</c:v>
                </c:pt>
                <c:pt idx="252">
                  <c:v>709.55494783799998</c:v>
                </c:pt>
                <c:pt idx="253">
                  <c:v>709.55494783799998</c:v>
                </c:pt>
                <c:pt idx="254">
                  <c:v>759.00015014400003</c:v>
                </c:pt>
                <c:pt idx="255">
                  <c:v>811.75414093199993</c:v>
                </c:pt>
                <c:pt idx="256">
                  <c:v>794.30408949000002</c:v>
                </c:pt>
                <c:pt idx="257">
                  <c:v>756.17189755200002</c:v>
                </c:pt>
                <c:pt idx="258">
                  <c:v>789.77056847500012</c:v>
                </c:pt>
                <c:pt idx="259">
                  <c:v>789.77056847500012</c:v>
                </c:pt>
                <c:pt idx="260">
                  <c:v>879.57928467500005</c:v>
                </c:pt>
                <c:pt idx="261">
                  <c:v>868.50843127299993</c:v>
                </c:pt>
                <c:pt idx="262">
                  <c:v>837.03938569600007</c:v>
                </c:pt>
                <c:pt idx="263">
                  <c:v>834.54691305599999</c:v>
                </c:pt>
                <c:pt idx="264">
                  <c:v>822.07005873599996</c:v>
                </c:pt>
                <c:pt idx="265">
                  <c:v>822.07005873599996</c:v>
                </c:pt>
                <c:pt idx="266">
                  <c:v>822.07005873599996</c:v>
                </c:pt>
                <c:pt idx="267">
                  <c:v>917.50029441599986</c:v>
                </c:pt>
                <c:pt idx="268">
                  <c:v>966.95928916299977</c:v>
                </c:pt>
                <c:pt idx="269">
                  <c:v>979.34301215999983</c:v>
                </c:pt>
                <c:pt idx="270">
                  <c:v>1078.5538516629997</c:v>
                </c:pt>
                <c:pt idx="271">
                  <c:v>915.95476471400002</c:v>
                </c:pt>
                <c:pt idx="272">
                  <c:v>915.95476471400002</c:v>
                </c:pt>
                <c:pt idx="273">
                  <c:v>915.95476471400002</c:v>
                </c:pt>
                <c:pt idx="274">
                  <c:v>1067.5439903499998</c:v>
                </c:pt>
                <c:pt idx="275">
                  <c:v>1338.3108263199999</c:v>
                </c:pt>
                <c:pt idx="276">
                  <c:v>1255.048266564</c:v>
                </c:pt>
                <c:pt idx="277">
                  <c:v>1132.45385715</c:v>
                </c:pt>
                <c:pt idx="278">
                  <c:v>954.22979769200003</c:v>
                </c:pt>
                <c:pt idx="279">
                  <c:v>954.22979769200003</c:v>
                </c:pt>
                <c:pt idx="280">
                  <c:v>954.22979769200003</c:v>
                </c:pt>
                <c:pt idx="281">
                  <c:v>1003.723752266</c:v>
                </c:pt>
                <c:pt idx="282">
                  <c:v>1038.02894292</c:v>
                </c:pt>
                <c:pt idx="283">
                  <c:v>1127.8728518399998</c:v>
                </c:pt>
                <c:pt idx="284">
                  <c:v>1194.0713932399999</c:v>
                </c:pt>
                <c:pt idx="285">
                  <c:v>1037.3985792000001</c:v>
                </c:pt>
                <c:pt idx="286">
                  <c:v>1037.3985792000001</c:v>
                </c:pt>
                <c:pt idx="287">
                  <c:v>1037.3985792000001</c:v>
                </c:pt>
                <c:pt idx="288">
                  <c:v>1057.42944736</c:v>
                </c:pt>
                <c:pt idx="289">
                  <c:v>1041.4643734399999</c:v>
                </c:pt>
                <c:pt idx="290">
                  <c:v>1085.1882227999999</c:v>
                </c:pt>
                <c:pt idx="291">
                  <c:v>1058.5224918399999</c:v>
                </c:pt>
                <c:pt idx="292">
                  <c:v>1054.8629665000001</c:v>
                </c:pt>
                <c:pt idx="293">
                  <c:v>1054.8629665000001</c:v>
                </c:pt>
                <c:pt idx="294">
                  <c:v>1054.8629665000001</c:v>
                </c:pt>
                <c:pt idx="295">
                  <c:v>1043.3410769879999</c:v>
                </c:pt>
                <c:pt idx="296">
                  <c:v>1054.3539659099999</c:v>
                </c:pt>
                <c:pt idx="297">
                  <c:v>990.012306276</c:v>
                </c:pt>
                <c:pt idx="298">
                  <c:v>906.65244899999993</c:v>
                </c:pt>
                <c:pt idx="299">
                  <c:v>753.89327243999992</c:v>
                </c:pt>
                <c:pt idx="300">
                  <c:v>753.89327243999992</c:v>
                </c:pt>
                <c:pt idx="301">
                  <c:v>753.89327243999992</c:v>
                </c:pt>
                <c:pt idx="302">
                  <c:v>788.06188428799987</c:v>
                </c:pt>
                <c:pt idx="303">
                  <c:v>850.80160235999983</c:v>
                </c:pt>
                <c:pt idx="304">
                  <c:v>938.54947427999991</c:v>
                </c:pt>
                <c:pt idx="305">
                  <c:v>851.05685308799991</c:v>
                </c:pt>
                <c:pt idx="306">
                  <c:v>867.95080780000012</c:v>
                </c:pt>
                <c:pt idx="307">
                  <c:v>867.95080780000012</c:v>
                </c:pt>
                <c:pt idx="308">
                  <c:v>867.95080780000012</c:v>
                </c:pt>
                <c:pt idx="309">
                  <c:v>926.11593805799998</c:v>
                </c:pt>
                <c:pt idx="310">
                  <c:v>838.63309837199995</c:v>
                </c:pt>
                <c:pt idx="311">
                  <c:v>840.5558629799998</c:v>
                </c:pt>
                <c:pt idx="312">
                  <c:v>884.72686690000012</c:v>
                </c:pt>
                <c:pt idx="313">
                  <c:v>882.94911699999989</c:v>
                </c:pt>
                <c:pt idx="314">
                  <c:v>882.94911699999989</c:v>
                </c:pt>
                <c:pt idx="315">
                  <c:v>882.94911699999989</c:v>
                </c:pt>
                <c:pt idx="316">
                  <c:v>958.90898034000008</c:v>
                </c:pt>
                <c:pt idx="317">
                  <c:v>1095.4525936199998</c:v>
                </c:pt>
                <c:pt idx="318">
                  <c:v>1112.7337976369997</c:v>
                </c:pt>
                <c:pt idx="319">
                  <c:v>1073.81398745</c:v>
                </c:pt>
                <c:pt idx="320">
                  <c:v>1010.66453296</c:v>
                </c:pt>
                <c:pt idx="321">
                  <c:v>1010.66453296</c:v>
                </c:pt>
                <c:pt idx="322">
                  <c:v>1010.66453296</c:v>
                </c:pt>
                <c:pt idx="323">
                  <c:v>996.23650108599986</c:v>
                </c:pt>
                <c:pt idx="324">
                  <c:v>1070.9268905599999</c:v>
                </c:pt>
                <c:pt idx="325">
                  <c:v>1072.0556452999999</c:v>
                </c:pt>
                <c:pt idx="326">
                  <c:v>1064.2180195399999</c:v>
                </c:pt>
                <c:pt idx="327">
                  <c:v>1036.103331842</c:v>
                </c:pt>
                <c:pt idx="328">
                  <c:v>1036.103331842</c:v>
                </c:pt>
                <c:pt idx="329">
                  <c:v>1036.103331842</c:v>
                </c:pt>
                <c:pt idx="330">
                  <c:v>1121.376120466</c:v>
                </c:pt>
                <c:pt idx="331">
                  <c:v>1036.9628105199999</c:v>
                </c:pt>
                <c:pt idx="332">
                  <c:v>1108.0473694289999</c:v>
                </c:pt>
                <c:pt idx="333">
                  <c:v>1078.0206302009999</c:v>
                </c:pt>
                <c:pt idx="334">
                  <c:v>1056.8148686099998</c:v>
                </c:pt>
                <c:pt idx="335">
                  <c:v>1056.8148686099998</c:v>
                </c:pt>
                <c:pt idx="336">
                  <c:v>1056.8148686099998</c:v>
                </c:pt>
                <c:pt idx="337">
                  <c:v>1064.1279675799999</c:v>
                </c:pt>
                <c:pt idx="338">
                  <c:v>1130.2533805780001</c:v>
                </c:pt>
                <c:pt idx="339">
                  <c:v>1208.326877278</c:v>
                </c:pt>
                <c:pt idx="340">
                  <c:v>1203.5845029959999</c:v>
                </c:pt>
                <c:pt idx="341">
                  <c:v>1252.7335171599998</c:v>
                </c:pt>
                <c:pt idx="342">
                  <c:v>1252.7335171599998</c:v>
                </c:pt>
                <c:pt idx="343">
                  <c:v>1252.7335171599998</c:v>
                </c:pt>
                <c:pt idx="344">
                  <c:v>1387.4423476320001</c:v>
                </c:pt>
                <c:pt idx="345">
                  <c:v>1469.5953275049997</c:v>
                </c:pt>
                <c:pt idx="346">
                  <c:v>1429.15539883</c:v>
                </c:pt>
                <c:pt idx="347">
                  <c:v>1558.303831296</c:v>
                </c:pt>
                <c:pt idx="348">
                  <c:v>1558.85739208</c:v>
                </c:pt>
                <c:pt idx="349">
                  <c:v>1558.85739208</c:v>
                </c:pt>
                <c:pt idx="350">
                  <c:v>1558.85739208</c:v>
                </c:pt>
                <c:pt idx="351">
                  <c:v>1762.8331033499999</c:v>
                </c:pt>
                <c:pt idx="352">
                  <c:v>2148.90060576</c:v>
                </c:pt>
                <c:pt idx="353">
                  <c:v>1975.02993752</c:v>
                </c:pt>
                <c:pt idx="354">
                  <c:v>1403.8218675840001</c:v>
                </c:pt>
                <c:pt idx="355">
                  <c:v>1089.40203348</c:v>
                </c:pt>
                <c:pt idx="356">
                  <c:v>1089.40203348</c:v>
                </c:pt>
                <c:pt idx="357">
                  <c:v>1073.467882575</c:v>
                </c:pt>
                <c:pt idx="358">
                  <c:v>1120.82266319</c:v>
                </c:pt>
                <c:pt idx="359">
                  <c:v>1037.1795562719999</c:v>
                </c:pt>
                <c:pt idx="360">
                  <c:v>925.89665635999995</c:v>
                </c:pt>
                <c:pt idx="361">
                  <c:v>788.37489247999997</c:v>
                </c:pt>
                <c:pt idx="362">
                  <c:v>788.37489247999997</c:v>
                </c:pt>
                <c:pt idx="363">
                  <c:v>788.37489247999997</c:v>
                </c:pt>
                <c:pt idx="364">
                  <c:v>956.55008477399997</c:v>
                </c:pt>
                <c:pt idx="365">
                  <c:v>1048.3587825499999</c:v>
                </c:pt>
                <c:pt idx="366">
                  <c:v>1139.3693818919999</c:v>
                </c:pt>
                <c:pt idx="367">
                  <c:v>1132.4788543319999</c:v>
                </c:pt>
                <c:pt idx="368">
                  <c:v>964.11284503999991</c:v>
                </c:pt>
                <c:pt idx="369">
                  <c:v>964.11284503999991</c:v>
                </c:pt>
                <c:pt idx="370">
                  <c:v>964.11284503999991</c:v>
                </c:pt>
                <c:pt idx="371">
                  <c:v>1042.8978557319999</c:v>
                </c:pt>
                <c:pt idx="372">
                  <c:v>964.53722784000001</c:v>
                </c:pt>
                <c:pt idx="373">
                  <c:v>900.09728736000011</c:v>
                </c:pt>
                <c:pt idx="374">
                  <c:v>1002.0245390609999</c:v>
                </c:pt>
                <c:pt idx="375">
                  <c:v>994.77274270399994</c:v>
                </c:pt>
                <c:pt idx="376">
                  <c:v>994.77274270399994</c:v>
                </c:pt>
                <c:pt idx="377">
                  <c:v>994.77274270399994</c:v>
                </c:pt>
                <c:pt idx="378">
                  <c:v>960.51226750599994</c:v>
                </c:pt>
                <c:pt idx="379">
                  <c:v>938.07553702500002</c:v>
                </c:pt>
                <c:pt idx="380">
                  <c:v>860.16366806700012</c:v>
                </c:pt>
                <c:pt idx="381">
                  <c:v>921.90694049999991</c:v>
                </c:pt>
                <c:pt idx="382">
                  <c:v>933.44911757999989</c:v>
                </c:pt>
                <c:pt idx="383">
                  <c:v>933.44911757999989</c:v>
                </c:pt>
                <c:pt idx="384">
                  <c:v>933.44911757999989</c:v>
                </c:pt>
                <c:pt idx="385">
                  <c:v>1099.648782063</c:v>
                </c:pt>
                <c:pt idx="386">
                  <c:v>1085.3302357759999</c:v>
                </c:pt>
                <c:pt idx="387">
                  <c:v>1038.0840609299999</c:v>
                </c:pt>
                <c:pt idx="388">
                  <c:v>1068.038810344</c:v>
                </c:pt>
                <c:pt idx="389">
                  <c:v>1055.3515242599999</c:v>
                </c:pt>
                <c:pt idx="390">
                  <c:v>1055.3515242599999</c:v>
                </c:pt>
                <c:pt idx="391">
                  <c:v>1055.3515242599999</c:v>
                </c:pt>
                <c:pt idx="392">
                  <c:v>1009.2282559519999</c:v>
                </c:pt>
                <c:pt idx="393">
                  <c:v>857.32726421999996</c:v>
                </c:pt>
                <c:pt idx="394">
                  <c:v>900.56972374899988</c:v>
                </c:pt>
                <c:pt idx="395">
                  <c:v>942.40390518399988</c:v>
                </c:pt>
                <c:pt idx="396">
                  <c:v>953.42962909799985</c:v>
                </c:pt>
                <c:pt idx="397">
                  <c:v>953.42962909799985</c:v>
                </c:pt>
                <c:pt idx="398">
                  <c:v>935.62744343999998</c:v>
                </c:pt>
                <c:pt idx="399">
                  <c:v>909.70904023999992</c:v>
                </c:pt>
                <c:pt idx="400">
                  <c:v>892.90819097400015</c:v>
                </c:pt>
                <c:pt idx="401">
                  <c:v>893.29906305899999</c:v>
                </c:pt>
                <c:pt idx="402">
                  <c:v>916.27558775999989</c:v>
                </c:pt>
                <c:pt idx="403">
                  <c:v>916.27558775999989</c:v>
                </c:pt>
                <c:pt idx="404">
                  <c:v>916.27558775999989</c:v>
                </c:pt>
                <c:pt idx="405">
                  <c:v>933.20095715000002</c:v>
                </c:pt>
                <c:pt idx="406">
                  <c:v>777.55147495199992</c:v>
                </c:pt>
                <c:pt idx="407">
                  <c:v>837.57529836600008</c:v>
                </c:pt>
                <c:pt idx="408">
                  <c:v>877.18475647999981</c:v>
                </c:pt>
                <c:pt idx="409">
                  <c:v>842.534314892</c:v>
                </c:pt>
                <c:pt idx="410">
                  <c:v>842.534314892</c:v>
                </c:pt>
                <c:pt idx="411">
                  <c:v>842.534314892</c:v>
                </c:pt>
                <c:pt idx="412">
                  <c:v>902.59079507999991</c:v>
                </c:pt>
                <c:pt idx="413">
                  <c:v>965.32984034999993</c:v>
                </c:pt>
                <c:pt idx="414">
                  <c:v>1053.5147747999999</c:v>
                </c:pt>
                <c:pt idx="415">
                  <c:v>1297.3609913600001</c:v>
                </c:pt>
                <c:pt idx="416">
                  <c:v>1065.346204986</c:v>
                </c:pt>
                <c:pt idx="417">
                  <c:v>1161.2562519999997</c:v>
                </c:pt>
                <c:pt idx="418">
                  <c:v>1428.804222063</c:v>
                </c:pt>
                <c:pt idx="419">
                  <c:v>1950.6750226600002</c:v>
                </c:pt>
                <c:pt idx="420">
                  <c:v>1839.9797697514798</c:v>
                </c:pt>
                <c:pt idx="421">
                  <c:v>2174.8123844479996</c:v>
                </c:pt>
                <c:pt idx="422">
                  <c:v>2174.8123844479996</c:v>
                </c:pt>
                <c:pt idx="423">
                  <c:v>2174.8123844479996</c:v>
                </c:pt>
                <c:pt idx="424">
                  <c:v>2553.94811136</c:v>
                </c:pt>
                <c:pt idx="425">
                  <c:v>2414.2735466928002</c:v>
                </c:pt>
                <c:pt idx="426">
                  <c:v>1785.9640050575997</c:v>
                </c:pt>
                <c:pt idx="427">
                  <c:v>1703.97864500472</c:v>
                </c:pt>
                <c:pt idx="428">
                  <c:v>1375.5632861696399</c:v>
                </c:pt>
                <c:pt idx="429">
                  <c:v>1453.3023267849599</c:v>
                </c:pt>
                <c:pt idx="430">
                  <c:v>1453.3023267849599</c:v>
                </c:pt>
                <c:pt idx="431">
                  <c:v>1466.30404843628</c:v>
                </c:pt>
                <c:pt idx="432">
                  <c:v>1249.1457021623999</c:v>
                </c:pt>
                <c:pt idx="433">
                  <c:v>1263.2023783847999</c:v>
                </c:pt>
                <c:pt idx="434">
                  <c:v>1120.3390531124001</c:v>
                </c:pt>
                <c:pt idx="435">
                  <c:v>1167.3884012859201</c:v>
                </c:pt>
                <c:pt idx="436">
                  <c:v>1104.80135751392</c:v>
                </c:pt>
                <c:pt idx="437">
                  <c:v>1104.80135751392</c:v>
                </c:pt>
                <c:pt idx="438">
                  <c:v>1119.7246689574399</c:v>
                </c:pt>
                <c:pt idx="439">
                  <c:v>1053.9654755440799</c:v>
                </c:pt>
                <c:pt idx="440">
                  <c:v>1073.4103238463599</c:v>
                </c:pt>
                <c:pt idx="441">
                  <c:v>1284.7088276105601</c:v>
                </c:pt>
                <c:pt idx="442">
                  <c:v>1161.8454919916001</c:v>
                </c:pt>
                <c:pt idx="443">
                  <c:v>1076.9658008746001</c:v>
                </c:pt>
                <c:pt idx="444">
                  <c:v>1076.9658008746001</c:v>
                </c:pt>
                <c:pt idx="445">
                  <c:v>1085.1461592189598</c:v>
                </c:pt>
                <c:pt idx="446">
                  <c:v>1165.2943557798401</c:v>
                </c:pt>
                <c:pt idx="447">
                  <c:v>1245.2043669766799</c:v>
                </c:pt>
                <c:pt idx="448">
                  <c:v>1337.1299335653198</c:v>
                </c:pt>
                <c:pt idx="449">
                  <c:v>1427.9984278092002</c:v>
                </c:pt>
                <c:pt idx="450">
                  <c:v>1307.8421845279202</c:v>
                </c:pt>
                <c:pt idx="451">
                  <c:v>1307.8421845279202</c:v>
                </c:pt>
                <c:pt idx="452">
                  <c:v>1301.8021635724799</c:v>
                </c:pt>
                <c:pt idx="453">
                  <c:v>1248.3466338584401</c:v>
                </c:pt>
                <c:pt idx="454">
                  <c:v>1218.8650288281599</c:v>
                </c:pt>
                <c:pt idx="455">
                  <c:v>1195.2883367960001</c:v>
                </c:pt>
                <c:pt idx="456">
                  <c:v>1158.9634525024799</c:v>
                </c:pt>
                <c:pt idx="457">
                  <c:v>1153.6396199603198</c:v>
                </c:pt>
                <c:pt idx="458">
                  <c:v>1153.6396199603198</c:v>
                </c:pt>
                <c:pt idx="459">
                  <c:v>1159.3514460299998</c:v>
                </c:pt>
                <c:pt idx="460">
                  <c:v>1130.69362287376</c:v>
                </c:pt>
                <c:pt idx="461">
                  <c:v>1156.29590850144</c:v>
                </c:pt>
                <c:pt idx="462">
                  <c:v>1165.4789809292799</c:v>
                </c:pt>
                <c:pt idx="463">
                  <c:v>1003.0077232550399</c:v>
                </c:pt>
                <c:pt idx="464">
                  <c:v>1003.0077232550399</c:v>
                </c:pt>
                <c:pt idx="465">
                  <c:v>1003.0077232550399</c:v>
                </c:pt>
                <c:pt idx="466">
                  <c:v>1000.5029869871998</c:v>
                </c:pt>
                <c:pt idx="467">
                  <c:v>1020.52882051808</c:v>
                </c:pt>
                <c:pt idx="468">
                  <c:v>1030.3322826350402</c:v>
                </c:pt>
                <c:pt idx="469">
                  <c:v>1026.64949283696</c:v>
                </c:pt>
                <c:pt idx="470">
                  <c:v>1090.828684244</c:v>
                </c:pt>
                <c:pt idx="471">
                  <c:v>1010.1696819135999</c:v>
                </c:pt>
                <c:pt idx="472">
                  <c:v>1010.1696819135999</c:v>
                </c:pt>
                <c:pt idx="473">
                  <c:v>1020.049318673</c:v>
                </c:pt>
                <c:pt idx="474">
                  <c:v>1074.6202247180399</c:v>
                </c:pt>
                <c:pt idx="475">
                  <c:v>1063.3307148063598</c:v>
                </c:pt>
                <c:pt idx="476">
                  <c:v>1149.4899800999999</c:v>
                </c:pt>
                <c:pt idx="477">
                  <c:v>1082.6910436512401</c:v>
                </c:pt>
                <c:pt idx="478">
                  <c:v>1077.0020649024</c:v>
                </c:pt>
                <c:pt idx="479">
                  <c:v>1077.0020649024</c:v>
                </c:pt>
                <c:pt idx="480">
                  <c:v>1050.1518744057601</c:v>
                </c:pt>
                <c:pt idx="481">
                  <c:v>1051.0100054095999</c:v>
                </c:pt>
                <c:pt idx="482">
                  <c:v>1076.3295040760402</c:v>
                </c:pt>
                <c:pt idx="483">
                  <c:v>1118.6409795304799</c:v>
                </c:pt>
                <c:pt idx="484">
                  <c:v>1118.3718235377598</c:v>
                </c:pt>
                <c:pt idx="485">
                  <c:v>1005.2116487135999</c:v>
                </c:pt>
                <c:pt idx="486">
                  <c:v>1005.2116487135999</c:v>
                </c:pt>
                <c:pt idx="487">
                  <c:v>1043.27773423232</c:v>
                </c:pt>
                <c:pt idx="488">
                  <c:v>919.54916178531982</c:v>
                </c:pt>
                <c:pt idx="489">
                  <c:v>918.46979588752004</c:v>
                </c:pt>
                <c:pt idx="490">
                  <c:v>879.91664726431998</c:v>
                </c:pt>
                <c:pt idx="491">
                  <c:v>988.7630992764</c:v>
                </c:pt>
                <c:pt idx="492">
                  <c:v>980.11062748799986</c:v>
                </c:pt>
                <c:pt idx="493">
                  <c:v>980.11062748799986</c:v>
                </c:pt>
                <c:pt idx="494">
                  <c:v>986.11055151439996</c:v>
                </c:pt>
                <c:pt idx="495">
                  <c:v>1001.87711365168</c:v>
                </c:pt>
                <c:pt idx="496">
                  <c:v>1020.3884471088001</c:v>
                </c:pt>
                <c:pt idx="497">
                  <c:v>1000.56693629976</c:v>
                </c:pt>
                <c:pt idx="498">
                  <c:v>986.92041570276001</c:v>
                </c:pt>
                <c:pt idx="499">
                  <c:v>940.79992865471991</c:v>
                </c:pt>
                <c:pt idx="500">
                  <c:v>945.55983305159998</c:v>
                </c:pt>
                <c:pt idx="501">
                  <c:v>945.55983305159998</c:v>
                </c:pt>
                <c:pt idx="502">
                  <c:v>868.96616952599993</c:v>
                </c:pt>
                <c:pt idx="503">
                  <c:v>875.82116278960007</c:v>
                </c:pt>
                <c:pt idx="504">
                  <c:v>1343.2491930000001</c:v>
                </c:pt>
                <c:pt idx="505">
                  <c:v>907.32471896887989</c:v>
                </c:pt>
                <c:pt idx="506">
                  <c:v>919.65087392151975</c:v>
                </c:pt>
                <c:pt idx="507">
                  <c:v>919.98341407311977</c:v>
                </c:pt>
                <c:pt idx="508">
                  <c:v>919.98341407311977</c:v>
                </c:pt>
                <c:pt idx="509">
                  <c:v>1013.69861431524</c:v>
                </c:pt>
                <c:pt idx="510">
                  <c:v>978.46208041391992</c:v>
                </c:pt>
                <c:pt idx="511">
                  <c:v>886.41698382195989</c:v>
                </c:pt>
                <c:pt idx="512">
                  <c:v>885.42592784452006</c:v>
                </c:pt>
                <c:pt idx="513">
                  <c:v>885.42592784452006</c:v>
                </c:pt>
                <c:pt idx="514">
                  <c:v>885.42592784452006</c:v>
                </c:pt>
                <c:pt idx="515">
                  <c:v>897.1750350128799</c:v>
                </c:pt>
                <c:pt idx="516">
                  <c:v>885.20430376047989</c:v>
                </c:pt>
                <c:pt idx="517">
                  <c:v>880.34727780720004</c:v>
                </c:pt>
                <c:pt idx="518">
                  <c:v>875.49136559999999</c:v>
                </c:pt>
                <c:pt idx="519">
                  <c:v>911.06381504879994</c:v>
                </c:pt>
                <c:pt idx="520">
                  <c:v>872.14268099447997</c:v>
                </c:pt>
                <c:pt idx="521">
                  <c:v>872.14268099447997</c:v>
                </c:pt>
                <c:pt idx="522">
                  <c:v>880.57597252272012</c:v>
                </c:pt>
                <c:pt idx="523">
                  <c:v>903.01715695296002</c:v>
                </c:pt>
                <c:pt idx="524">
                  <c:v>1046.5214141121598</c:v>
                </c:pt>
                <c:pt idx="525">
                  <c:v>1247.9681413302399</c:v>
                </c:pt>
                <c:pt idx="526">
                  <c:v>1312.6089670313997</c:v>
                </c:pt>
                <c:pt idx="527">
                  <c:v>1193.5706132553598</c:v>
                </c:pt>
                <c:pt idx="528">
                  <c:v>1193.5706132553598</c:v>
                </c:pt>
                <c:pt idx="529">
                  <c:v>1210.6550723711998</c:v>
                </c:pt>
                <c:pt idx="530">
                  <c:v>1299.2339189361599</c:v>
                </c:pt>
                <c:pt idx="531">
                  <c:v>1374.7585808200001</c:v>
                </c:pt>
                <c:pt idx="532">
                  <c:v>1364.3663776199999</c:v>
                </c:pt>
                <c:pt idx="533">
                  <c:v>1406.2306550410801</c:v>
                </c:pt>
                <c:pt idx="534">
                  <c:v>1356.2251370189999</c:v>
                </c:pt>
                <c:pt idx="535">
                  <c:v>1356.2251370189999</c:v>
                </c:pt>
                <c:pt idx="536">
                  <c:v>1383.6915292710801</c:v>
                </c:pt>
                <c:pt idx="537">
                  <c:v>1401.3329287071197</c:v>
                </c:pt>
                <c:pt idx="538">
                  <c:v>1406.8395977804801</c:v>
                </c:pt>
                <c:pt idx="539">
                  <c:v>1515.4499149219998</c:v>
                </c:pt>
                <c:pt idx="540">
                  <c:v>1554.9788696889996</c:v>
                </c:pt>
                <c:pt idx="541">
                  <c:v>1591.1261352895999</c:v>
                </c:pt>
                <c:pt idx="542">
                  <c:v>1591.1261352895999</c:v>
                </c:pt>
                <c:pt idx="543">
                  <c:v>1751.05758404528</c:v>
                </c:pt>
                <c:pt idx="544">
                  <c:v>1724.9826560476802</c:v>
                </c:pt>
                <c:pt idx="545">
                  <c:v>1814.5491179841601</c:v>
                </c:pt>
                <c:pt idx="546">
                  <c:v>1945.5972472652802</c:v>
                </c:pt>
                <c:pt idx="547">
                  <c:v>1779.0107806318401</c:v>
                </c:pt>
                <c:pt idx="548">
                  <c:v>1779.0107806318401</c:v>
                </c:pt>
                <c:pt idx="549">
                  <c:v>1779.0107806318401</c:v>
                </c:pt>
                <c:pt idx="550">
                  <c:v>1767.85324342016</c:v>
                </c:pt>
                <c:pt idx="551">
                  <c:v>1701.9902997980796</c:v>
                </c:pt>
                <c:pt idx="552">
                  <c:v>1811.714626965</c:v>
                </c:pt>
                <c:pt idx="553">
                  <c:v>1884.1380722048</c:v>
                </c:pt>
                <c:pt idx="554">
                  <c:v>1791.3893033869197</c:v>
                </c:pt>
                <c:pt idx="555">
                  <c:v>1601.7667235319598</c:v>
                </c:pt>
                <c:pt idx="556">
                  <c:v>1601.7667235319598</c:v>
                </c:pt>
                <c:pt idx="557">
                  <c:v>1617.4453214656</c:v>
                </c:pt>
                <c:pt idx="558">
                  <c:v>1644.60335096472</c:v>
                </c:pt>
                <c:pt idx="559">
                  <c:v>1602.8517989310399</c:v>
                </c:pt>
                <c:pt idx="560">
                  <c:v>1626.4281545622</c:v>
                </c:pt>
                <c:pt idx="561">
                  <c:v>1646.0288538249999</c:v>
                </c:pt>
                <c:pt idx="562">
                  <c:v>1681.9393241739999</c:v>
                </c:pt>
                <c:pt idx="563">
                  <c:v>1681.9393241739999</c:v>
                </c:pt>
                <c:pt idx="564">
                  <c:v>1692.9430495327595</c:v>
                </c:pt>
                <c:pt idx="565">
                  <c:v>1833.20838093456</c:v>
                </c:pt>
                <c:pt idx="566">
                  <c:v>2113.0453269116797</c:v>
                </c:pt>
                <c:pt idx="567">
                  <c:v>2166.1370767246399</c:v>
                </c:pt>
                <c:pt idx="568">
                  <c:v>2109.4534192077599</c:v>
                </c:pt>
                <c:pt idx="569">
                  <c:v>2020.4230189928001</c:v>
                </c:pt>
                <c:pt idx="570">
                  <c:v>2025.4917643495999</c:v>
                </c:pt>
                <c:pt idx="571">
                  <c:v>2061.4222686719995</c:v>
                </c:pt>
                <c:pt idx="572">
                  <c:v>2124.3336361305601</c:v>
                </c:pt>
                <c:pt idx="573">
                  <c:v>2139.2939558243997</c:v>
                </c:pt>
                <c:pt idx="574">
                  <c:v>2127.74905544892</c:v>
                </c:pt>
                <c:pt idx="575">
                  <c:v>2121.5218288895999</c:v>
                </c:pt>
                <c:pt idx="576">
                  <c:v>2062.6877471292</c:v>
                </c:pt>
                <c:pt idx="577">
                  <c:v>2062.6877471292</c:v>
                </c:pt>
                <c:pt idx="578">
                  <c:v>2069.0510908488395</c:v>
                </c:pt>
                <c:pt idx="579">
                  <c:v>2038.66096712032</c:v>
                </c:pt>
                <c:pt idx="580">
                  <c:v>2052.7973703797202</c:v>
                </c:pt>
                <c:pt idx="581">
                  <c:v>2173.0038264268801</c:v>
                </c:pt>
                <c:pt idx="582">
                  <c:v>2192.7864689468397</c:v>
                </c:pt>
                <c:pt idx="583">
                  <c:v>2137.4516262481197</c:v>
                </c:pt>
                <c:pt idx="584">
                  <c:v>2137.4516262481197</c:v>
                </c:pt>
                <c:pt idx="585">
                  <c:v>2114.6219545571998</c:v>
                </c:pt>
                <c:pt idx="586">
                  <c:v>2289.9555883079197</c:v>
                </c:pt>
                <c:pt idx="587">
                  <c:v>2369.8703163643199</c:v>
                </c:pt>
                <c:pt idx="588">
                  <c:v>2358.2121585703203</c:v>
                </c:pt>
                <c:pt idx="589">
                  <c:v>2477.8156028864801</c:v>
                </c:pt>
                <c:pt idx="590">
                  <c:v>2544.4853375444</c:v>
                </c:pt>
                <c:pt idx="591">
                  <c:v>2544.4853375444</c:v>
                </c:pt>
                <c:pt idx="592">
                  <c:v>2534.8136721638398</c:v>
                </c:pt>
                <c:pt idx="593">
                  <c:v>2891.2476104838402</c:v>
                </c:pt>
                <c:pt idx="594">
                  <c:v>2888.6392275152803</c:v>
                </c:pt>
                <c:pt idx="595">
                  <c:v>2886.3206648765599</c:v>
                </c:pt>
                <c:pt idx="596">
                  <c:v>3237.3414121979995</c:v>
                </c:pt>
                <c:pt idx="597">
                  <c:v>3288.0398396841597</c:v>
                </c:pt>
                <c:pt idx="598">
                  <c:v>3288.0398396841597</c:v>
                </c:pt>
                <c:pt idx="599">
                  <c:v>3288.6975791999998</c:v>
                </c:pt>
                <c:pt idx="600">
                  <c:v>3317.20185651888</c:v>
                </c:pt>
                <c:pt idx="601">
                  <c:v>2642.5252065696</c:v>
                </c:pt>
                <c:pt idx="602">
                  <c:v>2435.7449770919998</c:v>
                </c:pt>
                <c:pt idx="603">
                  <c:v>2337.1003211735997</c:v>
                </c:pt>
                <c:pt idx="604">
                  <c:v>1861.8917912683999</c:v>
                </c:pt>
                <c:pt idx="605">
                  <c:v>1861.8917912683999</c:v>
                </c:pt>
                <c:pt idx="606">
                  <c:v>1926.1346939195996</c:v>
                </c:pt>
                <c:pt idx="607">
                  <c:v>2397.1012279163997</c:v>
                </c:pt>
                <c:pt idx="608">
                  <c:v>2391.15194828424</c:v>
                </c:pt>
                <c:pt idx="609">
                  <c:v>2161.1153364208003</c:v>
                </c:pt>
                <c:pt idx="610">
                  <c:v>2180.3601772497595</c:v>
                </c:pt>
                <c:pt idx="611">
                  <c:v>1899.0518919647197</c:v>
                </c:pt>
                <c:pt idx="612">
                  <c:v>1899.0518919647197</c:v>
                </c:pt>
                <c:pt idx="613">
                  <c:v>2020.0673810309997</c:v>
                </c:pt>
                <c:pt idx="614">
                  <c:v>1920.6770151826399</c:v>
                </c:pt>
                <c:pt idx="615">
                  <c:v>2049.3063798705598</c:v>
                </c:pt>
                <c:pt idx="616">
                  <c:v>2234.5051913481602</c:v>
                </c:pt>
                <c:pt idx="617">
                  <c:v>2089.0919972146803</c:v>
                </c:pt>
                <c:pt idx="618">
                  <c:v>1703.89405723204</c:v>
                </c:pt>
                <c:pt idx="619">
                  <c:v>1703.89405723204</c:v>
                </c:pt>
                <c:pt idx="620">
                  <c:v>1725.8924644555998</c:v>
                </c:pt>
                <c:pt idx="621">
                  <c:v>1706.9193383371198</c:v>
                </c:pt>
                <c:pt idx="622">
                  <c:v>1808.9611226751999</c:v>
                </c:pt>
                <c:pt idx="623">
                  <c:v>1779.0746523133998</c:v>
                </c:pt>
                <c:pt idx="624">
                  <c:v>1761.7273139299598</c:v>
                </c:pt>
                <c:pt idx="625">
                  <c:v>1694.70797686172</c:v>
                </c:pt>
                <c:pt idx="626">
                  <c:v>1699.8284876043999</c:v>
                </c:pt>
                <c:pt idx="627">
                  <c:v>1689.2138871156001</c:v>
                </c:pt>
                <c:pt idx="628">
                  <c:v>2035.82411094336</c:v>
                </c:pt>
                <c:pt idx="629">
                  <c:v>2049.5854012107598</c:v>
                </c:pt>
                <c:pt idx="630">
                  <c:v>2041.9287271012799</c:v>
                </c:pt>
                <c:pt idx="631">
                  <c:v>1823.1188227055998</c:v>
                </c:pt>
                <c:pt idx="632">
                  <c:v>1634.5388302858798</c:v>
                </c:pt>
                <c:pt idx="633">
                  <c:v>1634.5388302858798</c:v>
                </c:pt>
                <c:pt idx="634">
                  <c:v>1632.6488942751598</c:v>
                </c:pt>
                <c:pt idx="635">
                  <c:v>1340.1132483868801</c:v>
                </c:pt>
                <c:pt idx="636">
                  <c:v>1037.30419646528</c:v>
                </c:pt>
                <c:pt idx="637">
                  <c:v>1060.6033731986399</c:v>
                </c:pt>
                <c:pt idx="638">
                  <c:v>1328.7261407819999</c:v>
                </c:pt>
                <c:pt idx="639">
                  <c:v>952.96777640200014</c:v>
                </c:pt>
                <c:pt idx="640">
                  <c:v>952.96777640200014</c:v>
                </c:pt>
                <c:pt idx="641">
                  <c:v>1035.2497427692001</c:v>
                </c:pt>
                <c:pt idx="642">
                  <c:v>1186.2003116242399</c:v>
                </c:pt>
                <c:pt idx="643">
                  <c:v>1061.7663249116799</c:v>
                </c:pt>
                <c:pt idx="644">
                  <c:v>1076.4480900863998</c:v>
                </c:pt>
                <c:pt idx="645">
                  <c:v>945.10070882647994</c:v>
                </c:pt>
                <c:pt idx="646">
                  <c:v>548.97171748695996</c:v>
                </c:pt>
                <c:pt idx="647">
                  <c:v>579.21364984696004</c:v>
                </c:pt>
                <c:pt idx="648">
                  <c:v>694.5053307574799</c:v>
                </c:pt>
                <c:pt idx="649">
                  <c:v>647.28814539704001</c:v>
                </c:pt>
                <c:pt idx="650">
                  <c:v>680.99999921280005</c:v>
                </c:pt>
                <c:pt idx="651">
                  <c:v>723.42408826600001</c:v>
                </c:pt>
                <c:pt idx="652">
                  <c:v>616.44951218879999</c:v>
                </c:pt>
                <c:pt idx="653">
                  <c:v>444.35327641740002</c:v>
                </c:pt>
                <c:pt idx="654">
                  <c:v>444.35327641740002</c:v>
                </c:pt>
                <c:pt idx="655">
                  <c:v>483.92476883207996</c:v>
                </c:pt>
                <c:pt idx="656">
                  <c:v>335.11453115547999</c:v>
                </c:pt>
                <c:pt idx="657">
                  <c:v>461.4917760249599</c:v>
                </c:pt>
                <c:pt idx="658">
                  <c:v>589.88575213500008</c:v>
                </c:pt>
                <c:pt idx="659">
                  <c:v>338.62278679904</c:v>
                </c:pt>
                <c:pt idx="660">
                  <c:v>518.67937673095992</c:v>
                </c:pt>
                <c:pt idx="661">
                  <c:v>560.16920257615993</c:v>
                </c:pt>
                <c:pt idx="662">
                  <c:v>557.40613725239996</c:v>
                </c:pt>
                <c:pt idx="663">
                  <c:v>316.97051239763994</c:v>
                </c:pt>
                <c:pt idx="664">
                  <c:v>226.946077245</c:v>
                </c:pt>
                <c:pt idx="665">
                  <c:v>487.12729600127994</c:v>
                </c:pt>
                <c:pt idx="666">
                  <c:v>695.30656962420005</c:v>
                </c:pt>
                <c:pt idx="667">
                  <c:v>546.26328886099998</c:v>
                </c:pt>
                <c:pt idx="668">
                  <c:v>580.06227364099993</c:v>
                </c:pt>
                <c:pt idx="669">
                  <c:v>653.65353029443997</c:v>
                </c:pt>
                <c:pt idx="670">
                  <c:v>659.6689473982799</c:v>
                </c:pt>
                <c:pt idx="671">
                  <c:v>932.99294229780003</c:v>
                </c:pt>
                <c:pt idx="672">
                  <c:v>918.78079602432001</c:v>
                </c:pt>
                <c:pt idx="673">
                  <c:v>787.72953252096011</c:v>
                </c:pt>
                <c:pt idx="674">
                  <c:v>576.22741299456004</c:v>
                </c:pt>
                <c:pt idx="675">
                  <c:v>576.22741299456004</c:v>
                </c:pt>
                <c:pt idx="676">
                  <c:v>719.94546282252008</c:v>
                </c:pt>
                <c:pt idx="677">
                  <c:v>1158.4840759020797</c:v>
                </c:pt>
                <c:pt idx="678">
                  <c:v>1243.1384445942001</c:v>
                </c:pt>
                <c:pt idx="679">
                  <c:v>1091.0130816758399</c:v>
                </c:pt>
                <c:pt idx="680">
                  <c:v>1132.6699942749599</c:v>
                </c:pt>
                <c:pt idx="681">
                  <c:v>1186.6158424200798</c:v>
                </c:pt>
                <c:pt idx="682">
                  <c:v>1186.6158424200798</c:v>
                </c:pt>
                <c:pt idx="683">
                  <c:v>1201.41192390016</c:v>
                </c:pt>
                <c:pt idx="684">
                  <c:v>1216.9461685419199</c:v>
                </c:pt>
                <c:pt idx="685">
                  <c:v>1270.06909082416</c:v>
                </c:pt>
                <c:pt idx="686">
                  <c:v>1349.9358429225599</c:v>
                </c:pt>
                <c:pt idx="687">
                  <c:v>1267.92116526376</c:v>
                </c:pt>
                <c:pt idx="688">
                  <c:v>1312.4961402061599</c:v>
                </c:pt>
                <c:pt idx="689">
                  <c:v>1312.4961402061599</c:v>
                </c:pt>
                <c:pt idx="690">
                  <c:v>1354.4354474711997</c:v>
                </c:pt>
                <c:pt idx="691">
                  <c:v>1333.4580483350401</c:v>
                </c:pt>
                <c:pt idx="692">
                  <c:v>1414.1984369356799</c:v>
                </c:pt>
                <c:pt idx="693">
                  <c:v>1548.6499113269601</c:v>
                </c:pt>
                <c:pt idx="694">
                  <c:v>1491.3742211726401</c:v>
                </c:pt>
                <c:pt idx="695">
                  <c:v>1434.8002728200399</c:v>
                </c:pt>
                <c:pt idx="696">
                  <c:v>1434.8002728200399</c:v>
                </c:pt>
                <c:pt idx="697">
                  <c:v>1458.6970974998401</c:v>
                </c:pt>
                <c:pt idx="698">
                  <c:v>1476.1507944936004</c:v>
                </c:pt>
                <c:pt idx="699">
                  <c:v>1527.0330087144</c:v>
                </c:pt>
                <c:pt idx="700">
                  <c:v>1593.5219066156797</c:v>
                </c:pt>
                <c:pt idx="701">
                  <c:v>1480.5245043319999</c:v>
                </c:pt>
                <c:pt idx="702">
                  <c:v>1530.3201329719998</c:v>
                </c:pt>
                <c:pt idx="703">
                  <c:v>1530.3201329719998</c:v>
                </c:pt>
                <c:pt idx="704">
                  <c:v>1578.788400897</c:v>
                </c:pt>
                <c:pt idx="705">
                  <c:v>1529.0400598868</c:v>
                </c:pt>
                <c:pt idx="706">
                  <c:v>1532.6361089457998</c:v>
                </c:pt>
                <c:pt idx="707">
                  <c:v>1459.98350527464</c:v>
                </c:pt>
                <c:pt idx="708">
                  <c:v>1470.0990957655999</c:v>
                </c:pt>
                <c:pt idx="709">
                  <c:v>1264.2377792596001</c:v>
                </c:pt>
                <c:pt idx="710">
                  <c:v>1264.2377792596001</c:v>
                </c:pt>
                <c:pt idx="711">
                  <c:v>1281.7741770752</c:v>
                </c:pt>
                <c:pt idx="712">
                  <c:v>1179.6364108037999</c:v>
                </c:pt>
                <c:pt idx="713">
                  <c:v>1156.3785358325999</c:v>
                </c:pt>
                <c:pt idx="714">
                  <c:v>1028.2134448927998</c:v>
                </c:pt>
                <c:pt idx="715">
                  <c:v>991.63233172067987</c:v>
                </c:pt>
                <c:pt idx="716">
                  <c:v>885.11441120279983</c:v>
                </c:pt>
                <c:pt idx="717">
                  <c:v>885.11441120279983</c:v>
                </c:pt>
                <c:pt idx="718">
                  <c:v>886.86562682699991</c:v>
                </c:pt>
                <c:pt idx="719">
                  <c:v>887.11580048760004</c:v>
                </c:pt>
                <c:pt idx="720">
                  <c:v>880.32083358336001</c:v>
                </c:pt>
                <c:pt idx="721">
                  <c:v>862.70431747051998</c:v>
                </c:pt>
                <c:pt idx="722">
                  <c:v>887.82247444552002</c:v>
                </c:pt>
                <c:pt idx="723">
                  <c:v>738.32153099015989</c:v>
                </c:pt>
                <c:pt idx="724">
                  <c:v>738.32153099015989</c:v>
                </c:pt>
                <c:pt idx="725">
                  <c:v>735.5619663069599</c:v>
                </c:pt>
                <c:pt idx="726">
                  <c:v>745.52688848295998</c:v>
                </c:pt>
                <c:pt idx="727">
                  <c:v>685.13823766692008</c:v>
                </c:pt>
                <c:pt idx="728">
                  <c:v>722.54235536800013</c:v>
                </c:pt>
                <c:pt idx="729">
                  <c:v>788.31639803904011</c:v>
                </c:pt>
                <c:pt idx="730">
                  <c:v>788.31639803904011</c:v>
                </c:pt>
                <c:pt idx="731">
                  <c:v>788.31639803904011</c:v>
                </c:pt>
                <c:pt idx="732">
                  <c:v>737.12818104767996</c:v>
                </c:pt>
                <c:pt idx="733">
                  <c:v>696.7980629747999</c:v>
                </c:pt>
                <c:pt idx="734">
                  <c:v>722.58551302859996</c:v>
                </c:pt>
                <c:pt idx="735">
                  <c:v>728.69943973112004</c:v>
                </c:pt>
                <c:pt idx="736">
                  <c:v>623.88476094960004</c:v>
                </c:pt>
                <c:pt idx="737">
                  <c:v>660.47837892320001</c:v>
                </c:pt>
                <c:pt idx="738">
                  <c:v>660.47837892320001</c:v>
                </c:pt>
                <c:pt idx="739">
                  <c:v>659.74641175039994</c:v>
                </c:pt>
                <c:pt idx="740">
                  <c:v>658.03848834719997</c:v>
                </c:pt>
                <c:pt idx="741">
                  <c:v>684.43281305055996</c:v>
                </c:pt>
                <c:pt idx="742">
                  <c:v>686.65252658435998</c:v>
                </c:pt>
                <c:pt idx="743">
                  <c:v>748.80945114299982</c:v>
                </c:pt>
                <c:pt idx="744">
                  <c:v>768.5282685599999</c:v>
                </c:pt>
                <c:pt idx="745">
                  <c:v>768.5282685599999</c:v>
                </c:pt>
                <c:pt idx="746">
                  <c:v>730.32657099999983</c:v>
                </c:pt>
                <c:pt idx="747">
                  <c:v>682.04199354720004</c:v>
                </c:pt>
                <c:pt idx="748">
                  <c:v>643.33689518000006</c:v>
                </c:pt>
                <c:pt idx="749">
                  <c:v>643.98019739999984</c:v>
                </c:pt>
                <c:pt idx="750">
                  <c:v>602.99775741999997</c:v>
                </c:pt>
                <c:pt idx="751">
                  <c:v>601.77946825999993</c:v>
                </c:pt>
                <c:pt idx="752">
                  <c:v>601.77946825999993</c:v>
                </c:pt>
                <c:pt idx="753">
                  <c:v>634.39928990399994</c:v>
                </c:pt>
                <c:pt idx="754">
                  <c:v>647.08709352799997</c:v>
                </c:pt>
                <c:pt idx="755">
                  <c:v>674.58233759999996</c:v>
                </c:pt>
                <c:pt idx="756">
                  <c:v>649.82484907560001</c:v>
                </c:pt>
                <c:pt idx="757">
                  <c:v>674.17555115999994</c:v>
                </c:pt>
                <c:pt idx="758">
                  <c:v>666.94562086799988</c:v>
                </c:pt>
                <c:pt idx="759">
                  <c:v>666.94562086799988</c:v>
                </c:pt>
                <c:pt idx="760">
                  <c:v>661.91839256999992</c:v>
                </c:pt>
                <c:pt idx="761">
                  <c:v>616.40566619999993</c:v>
                </c:pt>
                <c:pt idx="762">
                  <c:v>608.23412363199998</c:v>
                </c:pt>
                <c:pt idx="763">
                  <c:v>598.23973272839999</c:v>
                </c:pt>
                <c:pt idx="764">
                  <c:v>614.52782406400001</c:v>
                </c:pt>
                <c:pt idx="765">
                  <c:v>611.03618869999991</c:v>
                </c:pt>
                <c:pt idx="766">
                  <c:v>611.03618869999991</c:v>
                </c:pt>
                <c:pt idx="767">
                  <c:v>584.51743909999993</c:v>
                </c:pt>
                <c:pt idx="768">
                  <c:v>588.75681625599998</c:v>
                </c:pt>
                <c:pt idx="769">
                  <c:v>606.13689628999987</c:v>
                </c:pt>
                <c:pt idx="770">
                  <c:v>572.00725520399999</c:v>
                </c:pt>
                <c:pt idx="771">
                  <c:v>536.65254518400002</c:v>
                </c:pt>
                <c:pt idx="772">
                  <c:v>537.96047227199995</c:v>
                </c:pt>
                <c:pt idx="773">
                  <c:v>537.96047227199995</c:v>
                </c:pt>
                <c:pt idx="774">
                  <c:v>570.06099427999993</c:v>
                </c:pt>
                <c:pt idx="775">
                  <c:v>539.34702403680001</c:v>
                </c:pt>
                <c:pt idx="776">
                  <c:v>559.78865334399995</c:v>
                </c:pt>
                <c:pt idx="777">
                  <c:v>549.74144230799993</c:v>
                </c:pt>
                <c:pt idx="778">
                  <c:v>577.94364602000007</c:v>
                </c:pt>
                <c:pt idx="779">
                  <c:v>575.27075893599999</c:v>
                </c:pt>
                <c:pt idx="780">
                  <c:v>575.27075893599999</c:v>
                </c:pt>
                <c:pt idx="781">
                  <c:v>522.87418127199987</c:v>
                </c:pt>
                <c:pt idx="782">
                  <c:v>520.95798942199997</c:v>
                </c:pt>
                <c:pt idx="783">
                  <c:v>533.66654640000002</c:v>
                </c:pt>
                <c:pt idx="784">
                  <c:v>535.06654385399997</c:v>
                </c:pt>
                <c:pt idx="785">
                  <c:v>512.41130280959999</c:v>
                </c:pt>
                <c:pt idx="786">
                  <c:v>514.15222456319998</c:v>
                </c:pt>
                <c:pt idx="787">
                  <c:v>514.15222456319998</c:v>
                </c:pt>
                <c:pt idx="788">
                  <c:v>478.71621935999991</c:v>
                </c:pt>
                <c:pt idx="789">
                  <c:v>491.83999868000006</c:v>
                </c:pt>
                <c:pt idx="790">
                  <c:v>468.88466724199998</c:v>
                </c:pt>
                <c:pt idx="791">
                  <c:v>458.38310783999992</c:v>
                </c:pt>
                <c:pt idx="792">
                  <c:v>548.65243464000002</c:v>
                </c:pt>
                <c:pt idx="793">
                  <c:v>551.91945764399998</c:v>
                </c:pt>
                <c:pt idx="794">
                  <c:v>551.91945764399998</c:v>
                </c:pt>
                <c:pt idx="795">
                  <c:v>544.7588259580001</c:v>
                </c:pt>
                <c:pt idx="796">
                  <c:v>506.73818459159997</c:v>
                </c:pt>
                <c:pt idx="797">
                  <c:v>497.10441556000001</c:v>
                </c:pt>
                <c:pt idx="798">
                  <c:v>464.65646895000009</c:v>
                </c:pt>
                <c:pt idx="799">
                  <c:v>479.69592258</c:v>
                </c:pt>
                <c:pt idx="800">
                  <c:v>482.45513533600001</c:v>
                </c:pt>
                <c:pt idx="801">
                  <c:v>482.45513533600001</c:v>
                </c:pt>
                <c:pt idx="802">
                  <c:v>443.26255569199992</c:v>
                </c:pt>
                <c:pt idx="803">
                  <c:v>452.67691881599995</c:v>
                </c:pt>
                <c:pt idx="804">
                  <c:v>441.330371856</c:v>
                </c:pt>
                <c:pt idx="805">
                  <c:v>477.52121949999997</c:v>
                </c:pt>
                <c:pt idx="806">
                  <c:v>476.42144699999994</c:v>
                </c:pt>
                <c:pt idx="807">
                  <c:v>473.29809310000002</c:v>
                </c:pt>
                <c:pt idx="808">
                  <c:v>473.29809310000002</c:v>
                </c:pt>
                <c:pt idx="809">
                  <c:v>481.65041239000004</c:v>
                </c:pt>
                <c:pt idx="810">
                  <c:v>466.20947192959989</c:v>
                </c:pt>
                <c:pt idx="811">
                  <c:v>478.115665944</c:v>
                </c:pt>
                <c:pt idx="812">
                  <c:v>480.92150905400007</c:v>
                </c:pt>
                <c:pt idx="813">
                  <c:v>533.14098453000008</c:v>
                </c:pt>
                <c:pt idx="814">
                  <c:v>530.10871767000003</c:v>
                </c:pt>
                <c:pt idx="815">
                  <c:v>530.10871767000003</c:v>
                </c:pt>
                <c:pt idx="816">
                  <c:v>582.27814702799992</c:v>
                </c:pt>
                <c:pt idx="817">
                  <c:v>534.31357490799996</c:v>
                </c:pt>
                <c:pt idx="818">
                  <c:v>514.09649585599993</c:v>
                </c:pt>
                <c:pt idx="819">
                  <c:v>495.77101515319998</c:v>
                </c:pt>
                <c:pt idx="820">
                  <c:v>496.54402324800003</c:v>
                </c:pt>
                <c:pt idx="821">
                  <c:v>495.49818876679996</c:v>
                </c:pt>
                <c:pt idx="822">
                  <c:v>495.49818876679996</c:v>
                </c:pt>
                <c:pt idx="823">
                  <c:v>495.49818876679996</c:v>
                </c:pt>
                <c:pt idx="824">
                  <c:v>499.05305716799995</c:v>
                </c:pt>
                <c:pt idx="825">
                  <c:v>491.79807793999993</c:v>
                </c:pt>
                <c:pt idx="826">
                  <c:v>487.96579774799994</c:v>
                </c:pt>
                <c:pt idx="827">
                  <c:v>476.11878960799999</c:v>
                </c:pt>
                <c:pt idx="828">
                  <c:v>474.22190200000006</c:v>
                </c:pt>
                <c:pt idx="829">
                  <c:v>474.22190200000006</c:v>
                </c:pt>
                <c:pt idx="830">
                  <c:v>483.33060600000005</c:v>
                </c:pt>
                <c:pt idx="831">
                  <c:v>484.03735862399992</c:v>
                </c:pt>
                <c:pt idx="832">
                  <c:v>454.2345072</c:v>
                </c:pt>
                <c:pt idx="833">
                  <c:v>470.53805227999999</c:v>
                </c:pt>
                <c:pt idx="834">
                  <c:v>457.47441110799997</c:v>
                </c:pt>
                <c:pt idx="835">
                  <c:v>458.30868558799995</c:v>
                </c:pt>
                <c:pt idx="836">
                  <c:v>458.30868558799995</c:v>
                </c:pt>
                <c:pt idx="837">
                  <c:v>452.62247360799995</c:v>
                </c:pt>
                <c:pt idx="838">
                  <c:v>457.13273120000002</c:v>
                </c:pt>
                <c:pt idx="839">
                  <c:v>442.91901263999995</c:v>
                </c:pt>
                <c:pt idx="840">
                  <c:v>446.00686329600006</c:v>
                </c:pt>
                <c:pt idx="841">
                  <c:v>432.58404936399995</c:v>
                </c:pt>
                <c:pt idx="842">
                  <c:v>432.30944263999999</c:v>
                </c:pt>
                <c:pt idx="843">
                  <c:v>432.30944263999999</c:v>
                </c:pt>
                <c:pt idx="844">
                  <c:v>432.30944263999999</c:v>
                </c:pt>
                <c:pt idx="845">
                  <c:v>430.31691364</c:v>
                </c:pt>
                <c:pt idx="846">
                  <c:v>415.54683958000004</c:v>
                </c:pt>
                <c:pt idx="847">
                  <c:v>410.37314746200008</c:v>
                </c:pt>
                <c:pt idx="848">
                  <c:v>416.00020461999992</c:v>
                </c:pt>
                <c:pt idx="849">
                  <c:v>416.22688713999997</c:v>
                </c:pt>
                <c:pt idx="850">
                  <c:v>416.22688713999997</c:v>
                </c:pt>
                <c:pt idx="851">
                  <c:v>416.22688713999997</c:v>
                </c:pt>
                <c:pt idx="852">
                  <c:v>407.76272745599999</c:v>
                </c:pt>
                <c:pt idx="853">
                  <c:v>401.02725488000004</c:v>
                </c:pt>
                <c:pt idx="854">
                  <c:v>393.80343156000004</c:v>
                </c:pt>
                <c:pt idx="855">
                  <c:v>378.44491451999994</c:v>
                </c:pt>
                <c:pt idx="856">
                  <c:v>376.15635264000002</c:v>
                </c:pt>
                <c:pt idx="857">
                  <c:v>376.15635264000002</c:v>
                </c:pt>
                <c:pt idx="858">
                  <c:v>354.82211174399998</c:v>
                </c:pt>
                <c:pt idx="859">
                  <c:v>355.94471810879992</c:v>
                </c:pt>
                <c:pt idx="860">
                  <c:v>351.87472144400004</c:v>
                </c:pt>
                <c:pt idx="861">
                  <c:v>331.52830914600003</c:v>
                </c:pt>
                <c:pt idx="862">
                  <c:v>320.46982494999997</c:v>
                </c:pt>
                <c:pt idx="863">
                  <c:v>321.45185709999998</c:v>
                </c:pt>
                <c:pt idx="864">
                  <c:v>321.45185709999998</c:v>
                </c:pt>
                <c:pt idx="865">
                  <c:v>316.42043672800003</c:v>
                </c:pt>
                <c:pt idx="866">
                  <c:v>329.55285896599997</c:v>
                </c:pt>
                <c:pt idx="867">
                  <c:v>310.408899104</c:v>
                </c:pt>
                <c:pt idx="868">
                  <c:v>292.36604699520001</c:v>
                </c:pt>
                <c:pt idx="869">
                  <c:v>259.40162651759999</c:v>
                </c:pt>
                <c:pt idx="870">
                  <c:v>259.5226273696</c:v>
                </c:pt>
                <c:pt idx="871">
                  <c:v>259.5226273696</c:v>
                </c:pt>
                <c:pt idx="872">
                  <c:v>259.5226273696</c:v>
                </c:pt>
                <c:pt idx="873">
                  <c:v>280.89147099000002</c:v>
                </c:pt>
                <c:pt idx="874">
                  <c:v>288.84735463999999</c:v>
                </c:pt>
                <c:pt idx="875">
                  <c:v>264.40414745599998</c:v>
                </c:pt>
                <c:pt idx="876">
                  <c:v>259.526954004</c:v>
                </c:pt>
                <c:pt idx="877">
                  <c:v>258.20049898399998</c:v>
                </c:pt>
                <c:pt idx="878">
                  <c:v>258.20049898399998</c:v>
                </c:pt>
                <c:pt idx="879">
                  <c:v>318.04095797599996</c:v>
                </c:pt>
                <c:pt idx="880">
                  <c:v>281.07514593600001</c:v>
                </c:pt>
                <c:pt idx="881">
                  <c:v>279.41751706999997</c:v>
                </c:pt>
                <c:pt idx="882">
                  <c:v>296.18270783000003</c:v>
                </c:pt>
                <c:pt idx="883">
                  <c:v>354.30451998999996</c:v>
                </c:pt>
                <c:pt idx="884">
                  <c:v>353.18715112999996</c:v>
                </c:pt>
                <c:pt idx="885">
                  <c:v>353.18715112999996</c:v>
                </c:pt>
                <c:pt idx="886">
                  <c:v>325.93333946799999</c:v>
                </c:pt>
                <c:pt idx="887">
                  <c:v>373.00091126000007</c:v>
                </c:pt>
                <c:pt idx="888">
                  <c:v>425.88972018291992</c:v>
                </c:pt>
                <c:pt idx="889">
                  <c:v>465.08673514471997</c:v>
                </c:pt>
                <c:pt idx="890">
                  <c:v>386.74211580000002</c:v>
                </c:pt>
                <c:pt idx="891">
                  <c:v>386.74211580000002</c:v>
                </c:pt>
                <c:pt idx="892">
                  <c:v>386.74211580000002</c:v>
                </c:pt>
                <c:pt idx="893">
                  <c:v>390.15570613200003</c:v>
                </c:pt>
                <c:pt idx="894">
                  <c:v>432.14168101392005</c:v>
                </c:pt>
                <c:pt idx="895">
                  <c:v>426.1551850803599</c:v>
                </c:pt>
                <c:pt idx="896">
                  <c:v>384.51795038712004</c:v>
                </c:pt>
                <c:pt idx="897">
                  <c:v>365.75520531372001</c:v>
                </c:pt>
                <c:pt idx="898">
                  <c:v>367.35539138003992</c:v>
                </c:pt>
                <c:pt idx="899">
                  <c:v>367.35539138003992</c:v>
                </c:pt>
                <c:pt idx="900">
                  <c:v>394.97427265279993</c:v>
                </c:pt>
                <c:pt idx="901">
                  <c:v>396.82062351487997</c:v>
                </c:pt>
                <c:pt idx="902">
                  <c:v>390.23116346400002</c:v>
                </c:pt>
                <c:pt idx="903">
                  <c:v>412.44027467759997</c:v>
                </c:pt>
                <c:pt idx="904">
                  <c:v>413.91855523200002</c:v>
                </c:pt>
                <c:pt idx="905">
                  <c:v>384.30450239999999</c:v>
                </c:pt>
                <c:pt idx="906">
                  <c:v>392.16013855200003</c:v>
                </c:pt>
                <c:pt idx="907">
                  <c:v>384.26930967999999</c:v>
                </c:pt>
                <c:pt idx="908">
                  <c:v>392.12422645139998</c:v>
                </c:pt>
                <c:pt idx="909">
                  <c:v>381.72078124751999</c:v>
                </c:pt>
                <c:pt idx="910">
                  <c:v>358.89235372275999</c:v>
                </c:pt>
                <c:pt idx="911">
                  <c:v>369.47692757584002</c:v>
                </c:pt>
                <c:pt idx="912">
                  <c:v>369.47692757584002</c:v>
                </c:pt>
                <c:pt idx="913">
                  <c:v>369.47692757584002</c:v>
                </c:pt>
                <c:pt idx="914">
                  <c:v>338.37315138003993</c:v>
                </c:pt>
                <c:pt idx="915">
                  <c:v>325.25143290431998</c:v>
                </c:pt>
                <c:pt idx="916">
                  <c:v>305.54867785876002</c:v>
                </c:pt>
                <c:pt idx="917">
                  <c:v>302.37773201544002</c:v>
                </c:pt>
                <c:pt idx="918">
                  <c:v>291.64055735303998</c:v>
                </c:pt>
                <c:pt idx="919">
                  <c:v>291.64055735303998</c:v>
                </c:pt>
                <c:pt idx="920">
                  <c:v>291.64055735303998</c:v>
                </c:pt>
                <c:pt idx="921">
                  <c:v>290.75397199999998</c:v>
                </c:pt>
                <c:pt idx="922">
                  <c:v>313.37217581184001</c:v>
                </c:pt>
                <c:pt idx="923">
                  <c:v>306.40250810519996</c:v>
                </c:pt>
                <c:pt idx="924">
                  <c:v>322.02570545200001</c:v>
                </c:pt>
                <c:pt idx="925">
                  <c:v>315.10021288960002</c:v>
                </c:pt>
                <c:pt idx="926">
                  <c:v>315.10021288960002</c:v>
                </c:pt>
                <c:pt idx="927">
                  <c:v>315.10021288960002</c:v>
                </c:pt>
                <c:pt idx="928">
                  <c:v>343.43102632668001</c:v>
                </c:pt>
                <c:pt idx="929">
                  <c:v>369.60714270999995</c:v>
                </c:pt>
                <c:pt idx="930">
                  <c:v>331.13294377871995</c:v>
                </c:pt>
                <c:pt idx="931">
                  <c:v>319.05403838568003</c:v>
                </c:pt>
                <c:pt idx="932">
                  <c:v>288.64988000744</c:v>
                </c:pt>
                <c:pt idx="933">
                  <c:v>288.64988000744</c:v>
                </c:pt>
                <c:pt idx="934">
                  <c:v>288.64988000744</c:v>
                </c:pt>
                <c:pt idx="935">
                  <c:v>306.78001213200002</c:v>
                </c:pt>
                <c:pt idx="936">
                  <c:v>296.37666008532</c:v>
                </c:pt>
                <c:pt idx="937">
                  <c:v>311.72635824371997</c:v>
                </c:pt>
                <c:pt idx="938">
                  <c:v>338.84284480703997</c:v>
                </c:pt>
                <c:pt idx="939">
                  <c:v>326.45057722463997</c:v>
                </c:pt>
                <c:pt idx="940">
                  <c:v>336.64002067359996</c:v>
                </c:pt>
                <c:pt idx="941">
                  <c:v>346.82946412255995</c:v>
                </c:pt>
                <c:pt idx="942">
                  <c:v>347.12132355999995</c:v>
                </c:pt>
                <c:pt idx="943">
                  <c:v>352.13811411127995</c:v>
                </c:pt>
                <c:pt idx="944">
                  <c:v>452.38939946899995</c:v>
                </c:pt>
                <c:pt idx="945">
                  <c:v>422.52886407167989</c:v>
                </c:pt>
                <c:pt idx="946">
                  <c:v>400.3504160679999</c:v>
                </c:pt>
                <c:pt idx="947">
                  <c:v>400.3504160679999</c:v>
                </c:pt>
                <c:pt idx="948">
                  <c:v>400.3504160679999</c:v>
                </c:pt>
                <c:pt idx="949">
                  <c:v>389.28132023183997</c:v>
                </c:pt>
                <c:pt idx="950">
                  <c:v>439.02759211711998</c:v>
                </c:pt>
                <c:pt idx="951">
                  <c:v>426.44958149887992</c:v>
                </c:pt>
                <c:pt idx="952">
                  <c:v>414.48231155400003</c:v>
                </c:pt>
                <c:pt idx="953">
                  <c:v>409.84898294999988</c:v>
                </c:pt>
                <c:pt idx="954">
                  <c:v>405.17753752499988</c:v>
                </c:pt>
                <c:pt idx="955">
                  <c:v>400.50609209999988</c:v>
                </c:pt>
                <c:pt idx="956">
                  <c:v>459.61114331327991</c:v>
                </c:pt>
                <c:pt idx="957">
                  <c:v>481.70570429343996</c:v>
                </c:pt>
                <c:pt idx="958">
                  <c:v>413.58643118255998</c:v>
                </c:pt>
                <c:pt idx="959">
                  <c:v>357.89007644303996</c:v>
                </c:pt>
                <c:pt idx="960">
                  <c:v>388.29939262491996</c:v>
                </c:pt>
                <c:pt idx="961">
                  <c:v>388.29939262491996</c:v>
                </c:pt>
                <c:pt idx="962">
                  <c:v>428.90798137544004</c:v>
                </c:pt>
                <c:pt idx="963">
                  <c:v>393.80441488599996</c:v>
                </c:pt>
                <c:pt idx="964">
                  <c:v>404.2496576553599</c:v>
                </c:pt>
                <c:pt idx="965">
                  <c:v>396.15291203832004</c:v>
                </c:pt>
                <c:pt idx="966">
                  <c:v>399.59539041803993</c:v>
                </c:pt>
                <c:pt idx="967">
                  <c:v>361.05579720252001</c:v>
                </c:pt>
                <c:pt idx="968">
                  <c:v>361.05579720252001</c:v>
                </c:pt>
                <c:pt idx="969">
                  <c:v>361.05579720252001</c:v>
                </c:pt>
                <c:pt idx="970">
                  <c:v>346.32862410327999</c:v>
                </c:pt>
                <c:pt idx="971">
                  <c:v>364.86564514075991</c:v>
                </c:pt>
                <c:pt idx="972">
                  <c:v>334.03728510151996</c:v>
                </c:pt>
                <c:pt idx="973">
                  <c:v>362.03362175231996</c:v>
                </c:pt>
                <c:pt idx="974">
                  <c:v>379.20661954119998</c:v>
                </c:pt>
                <c:pt idx="975">
                  <c:v>379.20661954119998</c:v>
                </c:pt>
                <c:pt idx="976">
                  <c:v>379.20661954119998</c:v>
                </c:pt>
                <c:pt idx="977">
                  <c:v>416.05509284223996</c:v>
                </c:pt>
                <c:pt idx="978">
                  <c:v>399.35968510567994</c:v>
                </c:pt>
                <c:pt idx="979">
                  <c:v>416.45084118912001</c:v>
                </c:pt>
                <c:pt idx="980">
                  <c:v>393.31628150880005</c:v>
                </c:pt>
                <c:pt idx="981">
                  <c:v>403.23042265999993</c:v>
                </c:pt>
                <c:pt idx="982">
                  <c:v>403.23042265999993</c:v>
                </c:pt>
                <c:pt idx="983">
                  <c:v>403.23042265999993</c:v>
                </c:pt>
                <c:pt idx="984">
                  <c:v>379.92859819199992</c:v>
                </c:pt>
                <c:pt idx="985">
                  <c:v>418.18832233679996</c:v>
                </c:pt>
                <c:pt idx="986">
                  <c:v>419.91189097419988</c:v>
                </c:pt>
                <c:pt idx="987">
                  <c:v>432.42833606912001</c:v>
                </c:pt>
                <c:pt idx="988">
                  <c:v>446.80888468319995</c:v>
                </c:pt>
                <c:pt idx="989">
                  <c:v>446.80888468319995</c:v>
                </c:pt>
                <c:pt idx="990">
                  <c:v>446.80888468319995</c:v>
                </c:pt>
                <c:pt idx="991">
                  <c:v>493.60994097155998</c:v>
                </c:pt>
                <c:pt idx="992">
                  <c:v>439.75876745371994</c:v>
                </c:pt>
                <c:pt idx="993">
                  <c:v>432.53674620799995</c:v>
                </c:pt>
                <c:pt idx="994">
                  <c:v>437.03237811960003</c:v>
                </c:pt>
                <c:pt idx="995">
                  <c:v>410.00160549599997</c:v>
                </c:pt>
                <c:pt idx="996">
                  <c:v>410.00160549599997</c:v>
                </c:pt>
                <c:pt idx="997">
                  <c:v>410.00160549599997</c:v>
                </c:pt>
                <c:pt idx="998">
                  <c:v>351.71035073999997</c:v>
                </c:pt>
                <c:pt idx="999">
                  <c:v>320.78220588351996</c:v>
                </c:pt>
                <c:pt idx="1000">
                  <c:v>362.18776586592003</c:v>
                </c:pt>
                <c:pt idx="1001">
                  <c:v>305.88057315551998</c:v>
                </c:pt>
                <c:pt idx="1002">
                  <c:v>353.84018517216003</c:v>
                </c:pt>
                <c:pt idx="1003">
                  <c:v>353.84018517216003</c:v>
                </c:pt>
                <c:pt idx="1004">
                  <c:v>353.84018517216003</c:v>
                </c:pt>
                <c:pt idx="1005">
                  <c:v>426.67673187503999</c:v>
                </c:pt>
                <c:pt idx="1006">
                  <c:v>500.03384308168</c:v>
                </c:pt>
                <c:pt idx="1007">
                  <c:v>491.45490751680001</c:v>
                </c:pt>
                <c:pt idx="1008">
                  <c:v>531.35902702980002</c:v>
                </c:pt>
                <c:pt idx="1009">
                  <c:v>593.12218956008007</c:v>
                </c:pt>
                <c:pt idx="1010">
                  <c:v>593.12218956008007</c:v>
                </c:pt>
                <c:pt idx="1011">
                  <c:v>593.12218956008007</c:v>
                </c:pt>
                <c:pt idx="1012">
                  <c:v>529.06352700855996</c:v>
                </c:pt>
                <c:pt idx="1013">
                  <c:v>536.12520090623991</c:v>
                </c:pt>
                <c:pt idx="1014">
                  <c:v>554.15404631247986</c:v>
                </c:pt>
                <c:pt idx="1015">
                  <c:v>548.92159684319995</c:v>
                </c:pt>
                <c:pt idx="1016">
                  <c:v>560.36985490431994</c:v>
                </c:pt>
                <c:pt idx="1017">
                  <c:v>560.36985490431994</c:v>
                </c:pt>
                <c:pt idx="1018">
                  <c:v>560.36985490431994</c:v>
                </c:pt>
                <c:pt idx="1019">
                  <c:v>565.03391710367998</c:v>
                </c:pt>
                <c:pt idx="1020">
                  <c:v>540.26215896640008</c:v>
                </c:pt>
                <c:pt idx="1021">
                  <c:v>546.88005887535996</c:v>
                </c:pt>
                <c:pt idx="1022">
                  <c:v>553.89241121103987</c:v>
                </c:pt>
                <c:pt idx="1023">
                  <c:v>554.01098583551982</c:v>
                </c:pt>
                <c:pt idx="1024">
                  <c:v>554.01098583551982</c:v>
                </c:pt>
                <c:pt idx="1025">
                  <c:v>554.01098583551982</c:v>
                </c:pt>
                <c:pt idx="1026">
                  <c:v>555.6404046312</c:v>
                </c:pt>
                <c:pt idx="1027">
                  <c:v>525.12445347263997</c:v>
                </c:pt>
                <c:pt idx="1028">
                  <c:v>520.91774137128004</c:v>
                </c:pt>
                <c:pt idx="1029">
                  <c:v>533.74164352416005</c:v>
                </c:pt>
                <c:pt idx="1030">
                  <c:v>533.88989699747992</c:v>
                </c:pt>
                <c:pt idx="1031">
                  <c:v>533.88989699747992</c:v>
                </c:pt>
                <c:pt idx="1032">
                  <c:v>533.88989699747992</c:v>
                </c:pt>
                <c:pt idx="1033">
                  <c:v>498.71138140031996</c:v>
                </c:pt>
                <c:pt idx="1034">
                  <c:v>509.47792645772</c:v>
                </c:pt>
                <c:pt idx="1035">
                  <c:v>507.70731446939999</c:v>
                </c:pt>
                <c:pt idx="1036">
                  <c:v>533.54398257719993</c:v>
                </c:pt>
                <c:pt idx="1037">
                  <c:v>516.94867949759987</c:v>
                </c:pt>
                <c:pt idx="1038">
                  <c:v>516.94867949759987</c:v>
                </c:pt>
                <c:pt idx="1039">
                  <c:v>516.94867949759987</c:v>
                </c:pt>
                <c:pt idx="1040">
                  <c:v>530.21051778800006</c:v>
                </c:pt>
                <c:pt idx="1041">
                  <c:v>535.20932071903997</c:v>
                </c:pt>
                <c:pt idx="1042">
                  <c:v>528.40064003987993</c:v>
                </c:pt>
                <c:pt idx="1043">
                  <c:v>514.96006206491995</c:v>
                </c:pt>
                <c:pt idx="1044">
                  <c:v>507.44927006047999</c:v>
                </c:pt>
                <c:pt idx="1045">
                  <c:v>507.44927006047999</c:v>
                </c:pt>
                <c:pt idx="1046">
                  <c:v>507.44927006047999</c:v>
                </c:pt>
                <c:pt idx="1047">
                  <c:v>519.10384544259989</c:v>
                </c:pt>
                <c:pt idx="1048">
                  <c:v>498.20677058459995</c:v>
                </c:pt>
                <c:pt idx="1049">
                  <c:v>502.03505640287995</c:v>
                </c:pt>
                <c:pt idx="1050">
                  <c:v>526.99277908312001</c:v>
                </c:pt>
                <c:pt idx="1051">
                  <c:v>528.04361714103993</c:v>
                </c:pt>
              </c:numCache>
            </c:numRef>
          </c:val>
          <c:smooth val="0"/>
          <c:extLst>
            <c:ext xmlns:c16="http://schemas.microsoft.com/office/drawing/2014/chart" uri="{C3380CC4-5D6E-409C-BE32-E72D297353CC}">
              <c16:uniqueId val="{00000000-3A35-4B48-853B-C6882D1E6D9B}"/>
            </c:ext>
          </c:extLst>
        </c:ser>
        <c:dLbls>
          <c:showLegendKey val="0"/>
          <c:showVal val="0"/>
          <c:showCatName val="0"/>
          <c:showSerName val="0"/>
          <c:showPercent val="0"/>
          <c:showBubbleSize val="0"/>
        </c:dLbls>
        <c:smooth val="0"/>
        <c:axId val="1325521920"/>
        <c:axId val="1325566208"/>
      </c:lineChart>
      <c:dateAx>
        <c:axId val="1325521920"/>
        <c:scaling>
          <c:orientation val="minMax"/>
        </c:scaling>
        <c:delete val="0"/>
        <c:axPos val="b"/>
        <c:numFmt formatCode="yyyy" sourceLinked="0"/>
        <c:majorTickMark val="out"/>
        <c:minorTickMark val="none"/>
        <c:tickLblPos val="low"/>
        <c:spPr>
          <a:ln w="3175">
            <a:solidFill>
              <a:srgbClr val="000000"/>
            </a:solidFill>
            <a:prstDash val="solid"/>
          </a:ln>
        </c:spPr>
        <c:txPr>
          <a:bodyPr rot="0" vert="horz"/>
          <a:lstStyle/>
          <a:p>
            <a:pPr>
              <a:defRPr/>
            </a:pPr>
            <a:endParaRPr lang="ru-RU"/>
          </a:p>
        </c:txPr>
        <c:crossAx val="1325566208"/>
        <c:crossesAt val="-50"/>
        <c:auto val="1"/>
        <c:lblOffset val="0"/>
        <c:baseTimeUnit val="days"/>
        <c:majorUnit val="12"/>
        <c:majorTimeUnit val="months"/>
        <c:minorUnit val="1"/>
      </c:dateAx>
      <c:valAx>
        <c:axId val="1325566208"/>
        <c:scaling>
          <c:orientation val="minMax"/>
        </c:scaling>
        <c:delete val="0"/>
        <c:axPos val="l"/>
        <c:title>
          <c:tx>
            <c:rich>
              <a:bodyPr rot="0" vert="horz"/>
              <a:lstStyle/>
              <a:p>
                <a:pPr>
                  <a:defRPr/>
                </a:pPr>
                <a:r>
                  <a:rPr lang="en-US"/>
                  <a:t>$/tcm</a:t>
                </a:r>
                <a:endParaRPr lang="ru-RU"/>
              </a:p>
            </c:rich>
          </c:tx>
          <c:layout>
            <c:manualLayout>
              <c:xMode val="edge"/>
              <c:yMode val="edge"/>
              <c:x val="9.2607330526929488E-2"/>
              <c:y val="3.7821794871794871E-2"/>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ru-RU"/>
          </a:p>
        </c:txPr>
        <c:crossAx val="1325521920"/>
        <c:crosses val="autoZero"/>
        <c:crossBetween val="between"/>
      </c:valAx>
      <c:spPr>
        <a:noFill/>
        <a:ln w="25400">
          <a:noFill/>
        </a:ln>
      </c:spPr>
    </c:plotArea>
    <c:plotVisOnly val="1"/>
    <c:dispBlanksAs val="gap"/>
    <c:showDLblsOverMax val="0"/>
  </c:chart>
  <c:spPr>
    <a:solidFill>
      <a:sysClr val="window" lastClr="FFFFFF"/>
    </a:solidFill>
    <a:ln w="25400">
      <a:noFill/>
    </a:ln>
  </c:spPr>
  <c:txPr>
    <a:bodyPr/>
    <a:lstStyle/>
    <a:p>
      <a:pPr>
        <a:defRPr sz="1200" b="0" i="0" u="none" strike="noStrike" baseline="0">
          <a:solidFill>
            <a:srgbClr val="373737"/>
          </a:solidFill>
          <a:latin typeface="Arial Cyr"/>
          <a:ea typeface="Arial Cyr"/>
          <a:cs typeface="Arial Cyr"/>
        </a:defRPr>
      </a:pPr>
      <a:endParaRPr lang="ru-RU"/>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869965277777777E-2"/>
          <c:y val="0.18421810353347168"/>
          <c:w val="0.87687656250000001"/>
          <c:h val="0.77029255510949779"/>
        </c:manualLayout>
      </c:layout>
      <c:barChart>
        <c:barDir val="col"/>
        <c:grouping val="clustered"/>
        <c:varyColors val="0"/>
        <c:ser>
          <c:idx val="0"/>
          <c:order val="0"/>
          <c:tx>
            <c:strRef>
              <c:f>Лист4!$B$7</c:f>
              <c:strCache>
                <c:ptCount val="1"/>
                <c:pt idx="0">
                  <c:v>EU27</c:v>
                </c:pt>
              </c:strCache>
            </c:strRef>
          </c:tx>
          <c:spPr>
            <a:solidFill>
              <a:srgbClr val="2455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455D8"/>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4!$C$1:$F$1</c:f>
              <c:strCache>
                <c:ptCount val="4"/>
                <c:pt idx="0">
                  <c:v>Total</c:v>
                </c:pt>
                <c:pt idx="1">
                  <c:v>Power </c:v>
                </c:pt>
                <c:pt idx="2">
                  <c:v>Industry</c:v>
                </c:pt>
                <c:pt idx="3">
                  <c:v>Household</c:v>
                </c:pt>
              </c:strCache>
            </c:strRef>
          </c:cat>
          <c:val>
            <c:numRef>
              <c:f>Лист4!$C$7:$F$7</c:f>
              <c:numCache>
                <c:formatCode>0%</c:formatCode>
                <c:ptCount val="4"/>
                <c:pt idx="0">
                  <c:v>-0.2</c:v>
                </c:pt>
                <c:pt idx="1">
                  <c:v>-0.17</c:v>
                </c:pt>
                <c:pt idx="2">
                  <c:v>-0.21</c:v>
                </c:pt>
                <c:pt idx="3">
                  <c:v>-0.21</c:v>
                </c:pt>
              </c:numCache>
            </c:numRef>
          </c:val>
          <c:extLst>
            <c:ext xmlns:c16="http://schemas.microsoft.com/office/drawing/2014/chart" uri="{C3380CC4-5D6E-409C-BE32-E72D297353CC}">
              <c16:uniqueId val="{00000000-561D-4B4A-9354-CB480A171F99}"/>
            </c:ext>
          </c:extLst>
        </c:ser>
        <c:ser>
          <c:idx val="1"/>
          <c:order val="1"/>
          <c:tx>
            <c:strRef>
              <c:f>Лист4!$B$8</c:f>
              <c:strCache>
                <c:ptCount val="1"/>
                <c:pt idx="0">
                  <c:v>UK</c:v>
                </c:pt>
              </c:strCache>
            </c:strRef>
          </c:tx>
          <c:spPr>
            <a:solidFill>
              <a:srgbClr val="539FD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539FDE"/>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4!$C$1:$F$1</c:f>
              <c:strCache>
                <c:ptCount val="4"/>
                <c:pt idx="0">
                  <c:v>Total</c:v>
                </c:pt>
                <c:pt idx="1">
                  <c:v>Power </c:v>
                </c:pt>
                <c:pt idx="2">
                  <c:v>Industry</c:v>
                </c:pt>
                <c:pt idx="3">
                  <c:v>Household</c:v>
                </c:pt>
              </c:strCache>
            </c:strRef>
          </c:cat>
          <c:val>
            <c:numRef>
              <c:f>Лист4!$C$8:$F$8</c:f>
              <c:numCache>
                <c:formatCode>0%</c:formatCode>
                <c:ptCount val="4"/>
                <c:pt idx="0">
                  <c:v>-0.19</c:v>
                </c:pt>
                <c:pt idx="1">
                  <c:v>-0.09</c:v>
                </c:pt>
                <c:pt idx="2">
                  <c:v>-0.61</c:v>
                </c:pt>
                <c:pt idx="3">
                  <c:v>-0.2</c:v>
                </c:pt>
              </c:numCache>
            </c:numRef>
          </c:val>
          <c:extLst>
            <c:ext xmlns:c16="http://schemas.microsoft.com/office/drawing/2014/chart" uri="{C3380CC4-5D6E-409C-BE32-E72D297353CC}">
              <c16:uniqueId val="{00000001-561D-4B4A-9354-CB480A171F99}"/>
            </c:ext>
          </c:extLst>
        </c:ser>
        <c:dLbls>
          <c:showLegendKey val="0"/>
          <c:showVal val="0"/>
          <c:showCatName val="0"/>
          <c:showSerName val="0"/>
          <c:showPercent val="0"/>
          <c:showBubbleSize val="0"/>
        </c:dLbls>
        <c:gapWidth val="219"/>
        <c:overlap val="-27"/>
        <c:axId val="1393985128"/>
        <c:axId val="1393985848"/>
      </c:barChart>
      <c:catAx>
        <c:axId val="139398512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ru-RU"/>
          </a:p>
        </c:txPr>
        <c:crossAx val="1393985848"/>
        <c:crosses val="autoZero"/>
        <c:auto val="1"/>
        <c:lblAlgn val="ctr"/>
        <c:lblOffset val="100"/>
        <c:noMultiLvlLbl val="0"/>
      </c:catAx>
      <c:valAx>
        <c:axId val="139398584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ru-RU"/>
          </a:p>
        </c:txPr>
        <c:crossAx val="1393985128"/>
        <c:crosses val="autoZero"/>
        <c:crossBetween val="between"/>
      </c:valAx>
      <c:spPr>
        <a:noFill/>
        <a:ln>
          <a:noFill/>
        </a:ln>
        <a:effectLst/>
      </c:spPr>
    </c:plotArea>
    <c:legend>
      <c:legendPos val="b"/>
      <c:layout>
        <c:manualLayout>
          <c:xMode val="edge"/>
          <c:yMode val="edge"/>
          <c:x val="0.13510208333333334"/>
          <c:y val="0.8063014335280495"/>
          <c:w val="0.18740000000000001"/>
          <c:h val="0.1166522680347034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solidFill>
      <a:schemeClr val="bg1"/>
    </a:solidFill>
    <a:ln w="9525" cap="flat" cmpd="sng" algn="ctr">
      <a:noFill/>
      <a:round/>
    </a:ln>
    <a:effectLst/>
  </c:spPr>
  <c:txPr>
    <a:bodyPr/>
    <a:lstStyle/>
    <a:p>
      <a:pPr>
        <a:defRPr sz="1200">
          <a:latin typeface="Arial" panose="020B0604020202020204" pitchFamily="34" charset="0"/>
          <a:cs typeface="Arial" panose="020B0604020202020204" pitchFamily="34" charset="0"/>
        </a:defRPr>
      </a:pPr>
      <a:endParaRPr lang="ru-R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4309510244020812E-2"/>
          <c:y val="3.6598200312989049E-2"/>
          <c:w val="0.95252107103266181"/>
          <c:h val="0.90433049186436376"/>
        </c:manualLayout>
      </c:layout>
      <c:lineChart>
        <c:grouping val="standard"/>
        <c:varyColors val="0"/>
        <c:ser>
          <c:idx val="0"/>
          <c:order val="0"/>
          <c:tx>
            <c:strRef>
              <c:f>'Sheet 1'!$D$1</c:f>
              <c:strCache>
                <c:ptCount val="1"/>
                <c:pt idx="0">
                  <c:v>Russia</c:v>
                </c:pt>
              </c:strCache>
            </c:strRef>
          </c:tx>
          <c:spPr>
            <a:ln w="19050">
              <a:solidFill>
                <a:srgbClr val="00447C"/>
              </a:solidFill>
              <a:prstDash val="solid"/>
            </a:ln>
          </c:spPr>
          <c:marker>
            <c:symbol val="none"/>
          </c:marker>
          <c:cat>
            <c:numRef>
              <c:f>'Sheet 1'!$A$2:$A$1938</c:f>
              <c:numCache>
                <c:formatCode>mm/dd/yyyy</c:formatCode>
                <c:ptCount val="1937"/>
                <c:pt idx="0">
                  <c:v>43313</c:v>
                </c:pt>
                <c:pt idx="1">
                  <c:v>43314</c:v>
                </c:pt>
                <c:pt idx="2">
                  <c:v>43315</c:v>
                </c:pt>
                <c:pt idx="3">
                  <c:v>43316</c:v>
                </c:pt>
                <c:pt idx="4">
                  <c:v>43317</c:v>
                </c:pt>
                <c:pt idx="5">
                  <c:v>43318</c:v>
                </c:pt>
                <c:pt idx="6">
                  <c:v>43319</c:v>
                </c:pt>
                <c:pt idx="7">
                  <c:v>43320</c:v>
                </c:pt>
                <c:pt idx="8">
                  <c:v>43321</c:v>
                </c:pt>
                <c:pt idx="9">
                  <c:v>43322</c:v>
                </c:pt>
                <c:pt idx="10">
                  <c:v>43323</c:v>
                </c:pt>
                <c:pt idx="11">
                  <c:v>43324</c:v>
                </c:pt>
                <c:pt idx="12">
                  <c:v>43325</c:v>
                </c:pt>
                <c:pt idx="13">
                  <c:v>43326</c:v>
                </c:pt>
                <c:pt idx="14">
                  <c:v>43327</c:v>
                </c:pt>
                <c:pt idx="15">
                  <c:v>43328</c:v>
                </c:pt>
                <c:pt idx="16">
                  <c:v>43329</c:v>
                </c:pt>
                <c:pt idx="17">
                  <c:v>43330</c:v>
                </c:pt>
                <c:pt idx="18">
                  <c:v>43331</c:v>
                </c:pt>
                <c:pt idx="19">
                  <c:v>43332</c:v>
                </c:pt>
                <c:pt idx="20">
                  <c:v>43333</c:v>
                </c:pt>
                <c:pt idx="21">
                  <c:v>43334</c:v>
                </c:pt>
                <c:pt idx="22">
                  <c:v>43335</c:v>
                </c:pt>
                <c:pt idx="23">
                  <c:v>43336</c:v>
                </c:pt>
                <c:pt idx="24">
                  <c:v>43337</c:v>
                </c:pt>
                <c:pt idx="25">
                  <c:v>43338</c:v>
                </c:pt>
                <c:pt idx="26">
                  <c:v>43339</c:v>
                </c:pt>
                <c:pt idx="27">
                  <c:v>43340</c:v>
                </c:pt>
                <c:pt idx="28">
                  <c:v>43341</c:v>
                </c:pt>
                <c:pt idx="29">
                  <c:v>43342</c:v>
                </c:pt>
                <c:pt idx="30">
                  <c:v>43343</c:v>
                </c:pt>
                <c:pt idx="31">
                  <c:v>43344</c:v>
                </c:pt>
                <c:pt idx="32">
                  <c:v>43345</c:v>
                </c:pt>
                <c:pt idx="33">
                  <c:v>43346</c:v>
                </c:pt>
                <c:pt idx="34">
                  <c:v>43347</c:v>
                </c:pt>
                <c:pt idx="35">
                  <c:v>43348</c:v>
                </c:pt>
                <c:pt idx="36">
                  <c:v>43349</c:v>
                </c:pt>
                <c:pt idx="37">
                  <c:v>43350</c:v>
                </c:pt>
                <c:pt idx="38">
                  <c:v>43351</c:v>
                </c:pt>
                <c:pt idx="39">
                  <c:v>43352</c:v>
                </c:pt>
                <c:pt idx="40">
                  <c:v>43353</c:v>
                </c:pt>
                <c:pt idx="41">
                  <c:v>43354</c:v>
                </c:pt>
                <c:pt idx="42">
                  <c:v>43355</c:v>
                </c:pt>
                <c:pt idx="43">
                  <c:v>43356</c:v>
                </c:pt>
                <c:pt idx="44">
                  <c:v>43357</c:v>
                </c:pt>
                <c:pt idx="45">
                  <c:v>43358</c:v>
                </c:pt>
                <c:pt idx="46">
                  <c:v>43359</c:v>
                </c:pt>
                <c:pt idx="47">
                  <c:v>43360</c:v>
                </c:pt>
                <c:pt idx="48">
                  <c:v>43361</c:v>
                </c:pt>
                <c:pt idx="49">
                  <c:v>43362</c:v>
                </c:pt>
                <c:pt idx="50">
                  <c:v>43363</c:v>
                </c:pt>
                <c:pt idx="51">
                  <c:v>43364</c:v>
                </c:pt>
                <c:pt idx="52">
                  <c:v>43365</c:v>
                </c:pt>
                <c:pt idx="53">
                  <c:v>43366</c:v>
                </c:pt>
                <c:pt idx="54">
                  <c:v>43367</c:v>
                </c:pt>
                <c:pt idx="55">
                  <c:v>43368</c:v>
                </c:pt>
                <c:pt idx="56">
                  <c:v>43369</c:v>
                </c:pt>
                <c:pt idx="57">
                  <c:v>43370</c:v>
                </c:pt>
                <c:pt idx="58">
                  <c:v>43371</c:v>
                </c:pt>
                <c:pt idx="59">
                  <c:v>43372</c:v>
                </c:pt>
                <c:pt idx="60">
                  <c:v>43373</c:v>
                </c:pt>
                <c:pt idx="61">
                  <c:v>43374</c:v>
                </c:pt>
                <c:pt idx="62">
                  <c:v>43375</c:v>
                </c:pt>
                <c:pt idx="63">
                  <c:v>43376</c:v>
                </c:pt>
                <c:pt idx="64">
                  <c:v>43377</c:v>
                </c:pt>
                <c:pt idx="65">
                  <c:v>43378</c:v>
                </c:pt>
                <c:pt idx="66">
                  <c:v>43379</c:v>
                </c:pt>
                <c:pt idx="67">
                  <c:v>43380</c:v>
                </c:pt>
                <c:pt idx="68">
                  <c:v>43381</c:v>
                </c:pt>
                <c:pt idx="69">
                  <c:v>43382</c:v>
                </c:pt>
                <c:pt idx="70">
                  <c:v>43383</c:v>
                </c:pt>
                <c:pt idx="71">
                  <c:v>43384</c:v>
                </c:pt>
                <c:pt idx="72">
                  <c:v>43385</c:v>
                </c:pt>
                <c:pt idx="73">
                  <c:v>43386</c:v>
                </c:pt>
                <c:pt idx="74">
                  <c:v>43387</c:v>
                </c:pt>
                <c:pt idx="75">
                  <c:v>43388</c:v>
                </c:pt>
                <c:pt idx="76">
                  <c:v>43389</c:v>
                </c:pt>
                <c:pt idx="77">
                  <c:v>43390</c:v>
                </c:pt>
                <c:pt idx="78">
                  <c:v>43391</c:v>
                </c:pt>
                <c:pt idx="79">
                  <c:v>43392</c:v>
                </c:pt>
                <c:pt idx="80">
                  <c:v>43393</c:v>
                </c:pt>
                <c:pt idx="81">
                  <c:v>43394</c:v>
                </c:pt>
                <c:pt idx="82">
                  <c:v>43395</c:v>
                </c:pt>
                <c:pt idx="83">
                  <c:v>43396</c:v>
                </c:pt>
                <c:pt idx="84">
                  <c:v>43397</c:v>
                </c:pt>
                <c:pt idx="85">
                  <c:v>43398</c:v>
                </c:pt>
                <c:pt idx="86">
                  <c:v>43399</c:v>
                </c:pt>
                <c:pt idx="87">
                  <c:v>43400</c:v>
                </c:pt>
                <c:pt idx="88">
                  <c:v>43401</c:v>
                </c:pt>
                <c:pt idx="89">
                  <c:v>43402</c:v>
                </c:pt>
                <c:pt idx="90">
                  <c:v>43403</c:v>
                </c:pt>
                <c:pt idx="91">
                  <c:v>43404</c:v>
                </c:pt>
                <c:pt idx="92">
                  <c:v>43405</c:v>
                </c:pt>
                <c:pt idx="93">
                  <c:v>43406</c:v>
                </c:pt>
                <c:pt idx="94">
                  <c:v>43407</c:v>
                </c:pt>
                <c:pt idx="95">
                  <c:v>43408</c:v>
                </c:pt>
                <c:pt idx="96">
                  <c:v>43409</c:v>
                </c:pt>
                <c:pt idx="97">
                  <c:v>43410</c:v>
                </c:pt>
                <c:pt idx="98">
                  <c:v>43411</c:v>
                </c:pt>
                <c:pt idx="99">
                  <c:v>43412</c:v>
                </c:pt>
                <c:pt idx="100">
                  <c:v>43413</c:v>
                </c:pt>
                <c:pt idx="101">
                  <c:v>43414</c:v>
                </c:pt>
                <c:pt idx="102">
                  <c:v>43415</c:v>
                </c:pt>
                <c:pt idx="103">
                  <c:v>43416</c:v>
                </c:pt>
                <c:pt idx="104">
                  <c:v>43417</c:v>
                </c:pt>
                <c:pt idx="105">
                  <c:v>43418</c:v>
                </c:pt>
                <c:pt idx="106">
                  <c:v>43419</c:v>
                </c:pt>
                <c:pt idx="107">
                  <c:v>43420</c:v>
                </c:pt>
                <c:pt idx="108">
                  <c:v>43421</c:v>
                </c:pt>
                <c:pt idx="109">
                  <c:v>43422</c:v>
                </c:pt>
                <c:pt idx="110">
                  <c:v>43423</c:v>
                </c:pt>
                <c:pt idx="111">
                  <c:v>43424</c:v>
                </c:pt>
                <c:pt idx="112">
                  <c:v>43425</c:v>
                </c:pt>
                <c:pt idx="113">
                  <c:v>43426</c:v>
                </c:pt>
                <c:pt idx="114">
                  <c:v>43427</c:v>
                </c:pt>
                <c:pt idx="115">
                  <c:v>43428</c:v>
                </c:pt>
                <c:pt idx="116">
                  <c:v>43429</c:v>
                </c:pt>
                <c:pt idx="117">
                  <c:v>43430</c:v>
                </c:pt>
                <c:pt idx="118">
                  <c:v>43431</c:v>
                </c:pt>
                <c:pt idx="119">
                  <c:v>43432</c:v>
                </c:pt>
                <c:pt idx="120">
                  <c:v>43433</c:v>
                </c:pt>
                <c:pt idx="121">
                  <c:v>43434</c:v>
                </c:pt>
                <c:pt idx="122">
                  <c:v>43435</c:v>
                </c:pt>
                <c:pt idx="123">
                  <c:v>43436</c:v>
                </c:pt>
                <c:pt idx="124">
                  <c:v>43437</c:v>
                </c:pt>
                <c:pt idx="125">
                  <c:v>43438</c:v>
                </c:pt>
                <c:pt idx="126">
                  <c:v>43439</c:v>
                </c:pt>
                <c:pt idx="127">
                  <c:v>43440</c:v>
                </c:pt>
                <c:pt idx="128">
                  <c:v>43441</c:v>
                </c:pt>
                <c:pt idx="129">
                  <c:v>43442</c:v>
                </c:pt>
                <c:pt idx="130">
                  <c:v>43443</c:v>
                </c:pt>
                <c:pt idx="131">
                  <c:v>43444</c:v>
                </c:pt>
                <c:pt idx="132">
                  <c:v>43445</c:v>
                </c:pt>
                <c:pt idx="133">
                  <c:v>43446</c:v>
                </c:pt>
                <c:pt idx="134">
                  <c:v>43447</c:v>
                </c:pt>
                <c:pt idx="135">
                  <c:v>43448</c:v>
                </c:pt>
                <c:pt idx="136">
                  <c:v>43449</c:v>
                </c:pt>
                <c:pt idx="137">
                  <c:v>43450</c:v>
                </c:pt>
                <c:pt idx="138">
                  <c:v>43451</c:v>
                </c:pt>
                <c:pt idx="139">
                  <c:v>43452</c:v>
                </c:pt>
                <c:pt idx="140">
                  <c:v>43453</c:v>
                </c:pt>
                <c:pt idx="141">
                  <c:v>43454</c:v>
                </c:pt>
                <c:pt idx="142">
                  <c:v>43455</c:v>
                </c:pt>
                <c:pt idx="143">
                  <c:v>43456</c:v>
                </c:pt>
                <c:pt idx="144">
                  <c:v>43457</c:v>
                </c:pt>
                <c:pt idx="145">
                  <c:v>43458</c:v>
                </c:pt>
                <c:pt idx="146">
                  <c:v>43459</c:v>
                </c:pt>
                <c:pt idx="147">
                  <c:v>43460</c:v>
                </c:pt>
                <c:pt idx="148">
                  <c:v>43461</c:v>
                </c:pt>
                <c:pt idx="149">
                  <c:v>43462</c:v>
                </c:pt>
                <c:pt idx="150">
                  <c:v>43463</c:v>
                </c:pt>
                <c:pt idx="151">
                  <c:v>43464</c:v>
                </c:pt>
                <c:pt idx="152">
                  <c:v>43465</c:v>
                </c:pt>
                <c:pt idx="153">
                  <c:v>43466</c:v>
                </c:pt>
                <c:pt idx="154">
                  <c:v>43467</c:v>
                </c:pt>
                <c:pt idx="155">
                  <c:v>43468</c:v>
                </c:pt>
                <c:pt idx="156">
                  <c:v>43469</c:v>
                </c:pt>
                <c:pt idx="157">
                  <c:v>43470</c:v>
                </c:pt>
                <c:pt idx="158">
                  <c:v>43471</c:v>
                </c:pt>
                <c:pt idx="159">
                  <c:v>43472</c:v>
                </c:pt>
                <c:pt idx="160">
                  <c:v>43473</c:v>
                </c:pt>
                <c:pt idx="161">
                  <c:v>43474</c:v>
                </c:pt>
                <c:pt idx="162">
                  <c:v>43475</c:v>
                </c:pt>
                <c:pt idx="163">
                  <c:v>43476</c:v>
                </c:pt>
                <c:pt idx="164">
                  <c:v>43477</c:v>
                </c:pt>
                <c:pt idx="165">
                  <c:v>43478</c:v>
                </c:pt>
                <c:pt idx="166">
                  <c:v>43479</c:v>
                </c:pt>
                <c:pt idx="167">
                  <c:v>43480</c:v>
                </c:pt>
                <c:pt idx="168">
                  <c:v>43481</c:v>
                </c:pt>
                <c:pt idx="169">
                  <c:v>43482</c:v>
                </c:pt>
                <c:pt idx="170">
                  <c:v>43483</c:v>
                </c:pt>
                <c:pt idx="171">
                  <c:v>43484</c:v>
                </c:pt>
                <c:pt idx="172">
                  <c:v>43485</c:v>
                </c:pt>
                <c:pt idx="173">
                  <c:v>43486</c:v>
                </c:pt>
                <c:pt idx="174">
                  <c:v>43487</c:v>
                </c:pt>
                <c:pt idx="175">
                  <c:v>43488</c:v>
                </c:pt>
                <c:pt idx="176">
                  <c:v>43489</c:v>
                </c:pt>
                <c:pt idx="177">
                  <c:v>43490</c:v>
                </c:pt>
                <c:pt idx="178">
                  <c:v>43491</c:v>
                </c:pt>
                <c:pt idx="179">
                  <c:v>43492</c:v>
                </c:pt>
                <c:pt idx="180">
                  <c:v>43493</c:v>
                </c:pt>
                <c:pt idx="181">
                  <c:v>43494</c:v>
                </c:pt>
                <c:pt idx="182">
                  <c:v>43495</c:v>
                </c:pt>
                <c:pt idx="183">
                  <c:v>43496</c:v>
                </c:pt>
                <c:pt idx="184">
                  <c:v>43497</c:v>
                </c:pt>
                <c:pt idx="185">
                  <c:v>43498</c:v>
                </c:pt>
                <c:pt idx="186">
                  <c:v>43499</c:v>
                </c:pt>
                <c:pt idx="187">
                  <c:v>43500</c:v>
                </c:pt>
                <c:pt idx="188">
                  <c:v>43501</c:v>
                </c:pt>
                <c:pt idx="189">
                  <c:v>43502</c:v>
                </c:pt>
                <c:pt idx="190">
                  <c:v>43503</c:v>
                </c:pt>
                <c:pt idx="191">
                  <c:v>43504</c:v>
                </c:pt>
                <c:pt idx="192">
                  <c:v>43505</c:v>
                </c:pt>
                <c:pt idx="193">
                  <c:v>43506</c:v>
                </c:pt>
                <c:pt idx="194">
                  <c:v>43507</c:v>
                </c:pt>
                <c:pt idx="195">
                  <c:v>43508</c:v>
                </c:pt>
                <c:pt idx="196">
                  <c:v>43509</c:v>
                </c:pt>
                <c:pt idx="197">
                  <c:v>43510</c:v>
                </c:pt>
                <c:pt idx="198">
                  <c:v>43511</c:v>
                </c:pt>
                <c:pt idx="199">
                  <c:v>43512</c:v>
                </c:pt>
                <c:pt idx="200">
                  <c:v>43513</c:v>
                </c:pt>
                <c:pt idx="201">
                  <c:v>43514</c:v>
                </c:pt>
                <c:pt idx="202">
                  <c:v>43515</c:v>
                </c:pt>
                <c:pt idx="203">
                  <c:v>43516</c:v>
                </c:pt>
                <c:pt idx="204">
                  <c:v>43517</c:v>
                </c:pt>
                <c:pt idx="205">
                  <c:v>43518</c:v>
                </c:pt>
                <c:pt idx="206">
                  <c:v>43519</c:v>
                </c:pt>
                <c:pt idx="207">
                  <c:v>43520</c:v>
                </c:pt>
                <c:pt idx="208">
                  <c:v>43521</c:v>
                </c:pt>
                <c:pt idx="209">
                  <c:v>43522</c:v>
                </c:pt>
                <c:pt idx="210">
                  <c:v>43523</c:v>
                </c:pt>
                <c:pt idx="211">
                  <c:v>43524</c:v>
                </c:pt>
                <c:pt idx="212">
                  <c:v>43525</c:v>
                </c:pt>
                <c:pt idx="213">
                  <c:v>43526</c:v>
                </c:pt>
                <c:pt idx="214">
                  <c:v>43527</c:v>
                </c:pt>
                <c:pt idx="215">
                  <c:v>43528</c:v>
                </c:pt>
                <c:pt idx="216">
                  <c:v>43529</c:v>
                </c:pt>
                <c:pt idx="217">
                  <c:v>43530</c:v>
                </c:pt>
                <c:pt idx="218">
                  <c:v>43531</c:v>
                </c:pt>
                <c:pt idx="219">
                  <c:v>43532</c:v>
                </c:pt>
                <c:pt idx="220">
                  <c:v>43533</c:v>
                </c:pt>
                <c:pt idx="221">
                  <c:v>43534</c:v>
                </c:pt>
                <c:pt idx="222">
                  <c:v>43535</c:v>
                </c:pt>
                <c:pt idx="223">
                  <c:v>43536</c:v>
                </c:pt>
                <c:pt idx="224">
                  <c:v>43537</c:v>
                </c:pt>
                <c:pt idx="225">
                  <c:v>43538</c:v>
                </c:pt>
                <c:pt idx="226">
                  <c:v>43539</c:v>
                </c:pt>
                <c:pt idx="227">
                  <c:v>43540</c:v>
                </c:pt>
                <c:pt idx="228">
                  <c:v>43541</c:v>
                </c:pt>
                <c:pt idx="229">
                  <c:v>43542</c:v>
                </c:pt>
                <c:pt idx="230">
                  <c:v>43543</c:v>
                </c:pt>
                <c:pt idx="231">
                  <c:v>43544</c:v>
                </c:pt>
                <c:pt idx="232">
                  <c:v>43545</c:v>
                </c:pt>
                <c:pt idx="233">
                  <c:v>43546</c:v>
                </c:pt>
                <c:pt idx="234">
                  <c:v>43547</c:v>
                </c:pt>
                <c:pt idx="235">
                  <c:v>43548</c:v>
                </c:pt>
                <c:pt idx="236">
                  <c:v>43549</c:v>
                </c:pt>
                <c:pt idx="237">
                  <c:v>43550</c:v>
                </c:pt>
                <c:pt idx="238">
                  <c:v>43551</c:v>
                </c:pt>
                <c:pt idx="239">
                  <c:v>43552</c:v>
                </c:pt>
                <c:pt idx="240">
                  <c:v>43553</c:v>
                </c:pt>
                <c:pt idx="241">
                  <c:v>43554</c:v>
                </c:pt>
                <c:pt idx="242">
                  <c:v>43555</c:v>
                </c:pt>
                <c:pt idx="243">
                  <c:v>43556</c:v>
                </c:pt>
                <c:pt idx="244">
                  <c:v>43557</c:v>
                </c:pt>
                <c:pt idx="245">
                  <c:v>43558</c:v>
                </c:pt>
                <c:pt idx="246">
                  <c:v>43559</c:v>
                </c:pt>
                <c:pt idx="247">
                  <c:v>43560</c:v>
                </c:pt>
                <c:pt idx="248">
                  <c:v>43561</c:v>
                </c:pt>
                <c:pt idx="249">
                  <c:v>43562</c:v>
                </c:pt>
                <c:pt idx="250">
                  <c:v>43563</c:v>
                </c:pt>
                <c:pt idx="251">
                  <c:v>43564</c:v>
                </c:pt>
                <c:pt idx="252">
                  <c:v>43565</c:v>
                </c:pt>
                <c:pt idx="253">
                  <c:v>43566</c:v>
                </c:pt>
                <c:pt idx="254">
                  <c:v>43567</c:v>
                </c:pt>
                <c:pt idx="255">
                  <c:v>43568</c:v>
                </c:pt>
                <c:pt idx="256">
                  <c:v>43569</c:v>
                </c:pt>
                <c:pt idx="257">
                  <c:v>43570</c:v>
                </c:pt>
                <c:pt idx="258">
                  <c:v>43571</c:v>
                </c:pt>
                <c:pt idx="259">
                  <c:v>43572</c:v>
                </c:pt>
                <c:pt idx="260">
                  <c:v>43573</c:v>
                </c:pt>
                <c:pt idx="261">
                  <c:v>43574</c:v>
                </c:pt>
                <c:pt idx="262">
                  <c:v>43575</c:v>
                </c:pt>
                <c:pt idx="263">
                  <c:v>43576</c:v>
                </c:pt>
                <c:pt idx="264">
                  <c:v>43577</c:v>
                </c:pt>
                <c:pt idx="265">
                  <c:v>43578</c:v>
                </c:pt>
                <c:pt idx="266">
                  <c:v>43579</c:v>
                </c:pt>
                <c:pt idx="267">
                  <c:v>43580</c:v>
                </c:pt>
                <c:pt idx="268">
                  <c:v>43581</c:v>
                </c:pt>
                <c:pt idx="269">
                  <c:v>43582</c:v>
                </c:pt>
                <c:pt idx="270">
                  <c:v>43583</c:v>
                </c:pt>
                <c:pt idx="271">
                  <c:v>43584</c:v>
                </c:pt>
                <c:pt idx="272">
                  <c:v>43585</c:v>
                </c:pt>
                <c:pt idx="273">
                  <c:v>43586</c:v>
                </c:pt>
                <c:pt idx="274">
                  <c:v>43587</c:v>
                </c:pt>
                <c:pt idx="275">
                  <c:v>43588</c:v>
                </c:pt>
                <c:pt idx="276">
                  <c:v>43589</c:v>
                </c:pt>
                <c:pt idx="277">
                  <c:v>43590</c:v>
                </c:pt>
                <c:pt idx="278">
                  <c:v>43591</c:v>
                </c:pt>
                <c:pt idx="279">
                  <c:v>43592</c:v>
                </c:pt>
                <c:pt idx="280">
                  <c:v>43593</c:v>
                </c:pt>
                <c:pt idx="281">
                  <c:v>43594</c:v>
                </c:pt>
                <c:pt idx="282">
                  <c:v>43595</c:v>
                </c:pt>
                <c:pt idx="283">
                  <c:v>43596</c:v>
                </c:pt>
                <c:pt idx="284">
                  <c:v>43597</c:v>
                </c:pt>
                <c:pt idx="285">
                  <c:v>43598</c:v>
                </c:pt>
                <c:pt idx="286">
                  <c:v>43599</c:v>
                </c:pt>
                <c:pt idx="287">
                  <c:v>43600</c:v>
                </c:pt>
                <c:pt idx="288">
                  <c:v>43601</c:v>
                </c:pt>
                <c:pt idx="289">
                  <c:v>43602</c:v>
                </c:pt>
                <c:pt idx="290">
                  <c:v>43603</c:v>
                </c:pt>
                <c:pt idx="291">
                  <c:v>43604</c:v>
                </c:pt>
                <c:pt idx="292">
                  <c:v>43605</c:v>
                </c:pt>
                <c:pt idx="293">
                  <c:v>43606</c:v>
                </c:pt>
                <c:pt idx="294">
                  <c:v>43607</c:v>
                </c:pt>
                <c:pt idx="295">
                  <c:v>43608</c:v>
                </c:pt>
                <c:pt idx="296">
                  <c:v>43609</c:v>
                </c:pt>
                <c:pt idx="297">
                  <c:v>43610</c:v>
                </c:pt>
                <c:pt idx="298">
                  <c:v>43611</c:v>
                </c:pt>
                <c:pt idx="299">
                  <c:v>43612</c:v>
                </c:pt>
                <c:pt idx="300">
                  <c:v>43613</c:v>
                </c:pt>
                <c:pt idx="301">
                  <c:v>43614</c:v>
                </c:pt>
                <c:pt idx="302">
                  <c:v>43615</c:v>
                </c:pt>
                <c:pt idx="303">
                  <c:v>43616</c:v>
                </c:pt>
                <c:pt idx="304">
                  <c:v>43617</c:v>
                </c:pt>
                <c:pt idx="305">
                  <c:v>43618</c:v>
                </c:pt>
                <c:pt idx="306">
                  <c:v>43619</c:v>
                </c:pt>
                <c:pt idx="307">
                  <c:v>43620</c:v>
                </c:pt>
                <c:pt idx="308">
                  <c:v>43621</c:v>
                </c:pt>
                <c:pt idx="309">
                  <c:v>43622</c:v>
                </c:pt>
                <c:pt idx="310">
                  <c:v>43623</c:v>
                </c:pt>
                <c:pt idx="311">
                  <c:v>43624</c:v>
                </c:pt>
                <c:pt idx="312">
                  <c:v>43625</c:v>
                </c:pt>
                <c:pt idx="313">
                  <c:v>43626</c:v>
                </c:pt>
                <c:pt idx="314">
                  <c:v>43627</c:v>
                </c:pt>
                <c:pt idx="315">
                  <c:v>43628</c:v>
                </c:pt>
                <c:pt idx="316">
                  <c:v>43629</c:v>
                </c:pt>
                <c:pt idx="317">
                  <c:v>43630</c:v>
                </c:pt>
                <c:pt idx="318">
                  <c:v>43631</c:v>
                </c:pt>
                <c:pt idx="319">
                  <c:v>43632</c:v>
                </c:pt>
                <c:pt idx="320">
                  <c:v>43633</c:v>
                </c:pt>
                <c:pt idx="321">
                  <c:v>43634</c:v>
                </c:pt>
                <c:pt idx="322">
                  <c:v>43635</c:v>
                </c:pt>
                <c:pt idx="323">
                  <c:v>43636</c:v>
                </c:pt>
                <c:pt idx="324">
                  <c:v>43637</c:v>
                </c:pt>
                <c:pt idx="325">
                  <c:v>43638</c:v>
                </c:pt>
                <c:pt idx="326">
                  <c:v>43639</c:v>
                </c:pt>
                <c:pt idx="327">
                  <c:v>43640</c:v>
                </c:pt>
                <c:pt idx="328">
                  <c:v>43641</c:v>
                </c:pt>
                <c:pt idx="329">
                  <c:v>43642</c:v>
                </c:pt>
                <c:pt idx="330">
                  <c:v>43643</c:v>
                </c:pt>
                <c:pt idx="331">
                  <c:v>43644</c:v>
                </c:pt>
                <c:pt idx="332">
                  <c:v>43645</c:v>
                </c:pt>
                <c:pt idx="333">
                  <c:v>43646</c:v>
                </c:pt>
                <c:pt idx="334">
                  <c:v>43647</c:v>
                </c:pt>
                <c:pt idx="335">
                  <c:v>43648</c:v>
                </c:pt>
                <c:pt idx="336">
                  <c:v>43649</c:v>
                </c:pt>
                <c:pt idx="337">
                  <c:v>43650</c:v>
                </c:pt>
                <c:pt idx="338">
                  <c:v>43651</c:v>
                </c:pt>
                <c:pt idx="339">
                  <c:v>43652</c:v>
                </c:pt>
                <c:pt idx="340">
                  <c:v>43653</c:v>
                </c:pt>
                <c:pt idx="341">
                  <c:v>43654</c:v>
                </c:pt>
                <c:pt idx="342">
                  <c:v>43655</c:v>
                </c:pt>
                <c:pt idx="343">
                  <c:v>43656</c:v>
                </c:pt>
                <c:pt idx="344">
                  <c:v>43657</c:v>
                </c:pt>
                <c:pt idx="345">
                  <c:v>43658</c:v>
                </c:pt>
                <c:pt idx="346">
                  <c:v>43659</c:v>
                </c:pt>
                <c:pt idx="347">
                  <c:v>43660</c:v>
                </c:pt>
                <c:pt idx="348">
                  <c:v>43661</c:v>
                </c:pt>
                <c:pt idx="349">
                  <c:v>43662</c:v>
                </c:pt>
                <c:pt idx="350">
                  <c:v>43663</c:v>
                </c:pt>
                <c:pt idx="351">
                  <c:v>43664</c:v>
                </c:pt>
                <c:pt idx="352">
                  <c:v>43665</c:v>
                </c:pt>
                <c:pt idx="353">
                  <c:v>43666</c:v>
                </c:pt>
                <c:pt idx="354">
                  <c:v>43667</c:v>
                </c:pt>
                <c:pt idx="355">
                  <c:v>43668</c:v>
                </c:pt>
                <c:pt idx="356">
                  <c:v>43669</c:v>
                </c:pt>
                <c:pt idx="357">
                  <c:v>43670</c:v>
                </c:pt>
                <c:pt idx="358">
                  <c:v>43671</c:v>
                </c:pt>
                <c:pt idx="359">
                  <c:v>43672</c:v>
                </c:pt>
                <c:pt idx="360">
                  <c:v>43673</c:v>
                </c:pt>
                <c:pt idx="361">
                  <c:v>43674</c:v>
                </c:pt>
                <c:pt idx="362">
                  <c:v>43675</c:v>
                </c:pt>
                <c:pt idx="363">
                  <c:v>43676</c:v>
                </c:pt>
                <c:pt idx="364">
                  <c:v>43677</c:v>
                </c:pt>
                <c:pt idx="365">
                  <c:v>43678</c:v>
                </c:pt>
                <c:pt idx="366">
                  <c:v>43679</c:v>
                </c:pt>
                <c:pt idx="367">
                  <c:v>43680</c:v>
                </c:pt>
                <c:pt idx="368">
                  <c:v>43681</c:v>
                </c:pt>
                <c:pt idx="369">
                  <c:v>43682</c:v>
                </c:pt>
                <c:pt idx="370">
                  <c:v>43683</c:v>
                </c:pt>
                <c:pt idx="371">
                  <c:v>43684</c:v>
                </c:pt>
                <c:pt idx="372">
                  <c:v>43685</c:v>
                </c:pt>
                <c:pt idx="373">
                  <c:v>43686</c:v>
                </c:pt>
                <c:pt idx="374">
                  <c:v>43687</c:v>
                </c:pt>
                <c:pt idx="375">
                  <c:v>43688</c:v>
                </c:pt>
                <c:pt idx="376">
                  <c:v>43689</c:v>
                </c:pt>
                <c:pt idx="377">
                  <c:v>43690</c:v>
                </c:pt>
                <c:pt idx="378">
                  <c:v>43691</c:v>
                </c:pt>
                <c:pt idx="379">
                  <c:v>43692</c:v>
                </c:pt>
                <c:pt idx="380">
                  <c:v>43693</c:v>
                </c:pt>
                <c:pt idx="381">
                  <c:v>43694</c:v>
                </c:pt>
                <c:pt idx="382">
                  <c:v>43695</c:v>
                </c:pt>
                <c:pt idx="383">
                  <c:v>43696</c:v>
                </c:pt>
                <c:pt idx="384">
                  <c:v>43697</c:v>
                </c:pt>
                <c:pt idx="385">
                  <c:v>43698</c:v>
                </c:pt>
                <c:pt idx="386">
                  <c:v>43699</c:v>
                </c:pt>
                <c:pt idx="387">
                  <c:v>43700</c:v>
                </c:pt>
                <c:pt idx="388">
                  <c:v>43701</c:v>
                </c:pt>
                <c:pt idx="389">
                  <c:v>43702</c:v>
                </c:pt>
                <c:pt idx="390">
                  <c:v>43703</c:v>
                </c:pt>
                <c:pt idx="391">
                  <c:v>43704</c:v>
                </c:pt>
                <c:pt idx="392">
                  <c:v>43705</c:v>
                </c:pt>
                <c:pt idx="393">
                  <c:v>43706</c:v>
                </c:pt>
                <c:pt idx="394">
                  <c:v>43707</c:v>
                </c:pt>
                <c:pt idx="395">
                  <c:v>43708</c:v>
                </c:pt>
                <c:pt idx="396">
                  <c:v>43709</c:v>
                </c:pt>
                <c:pt idx="397">
                  <c:v>43710</c:v>
                </c:pt>
                <c:pt idx="398">
                  <c:v>43711</c:v>
                </c:pt>
                <c:pt idx="399">
                  <c:v>43712</c:v>
                </c:pt>
                <c:pt idx="400">
                  <c:v>43713</c:v>
                </c:pt>
                <c:pt idx="401">
                  <c:v>43714</c:v>
                </c:pt>
                <c:pt idx="402">
                  <c:v>43715</c:v>
                </c:pt>
                <c:pt idx="403">
                  <c:v>43716</c:v>
                </c:pt>
                <c:pt idx="404">
                  <c:v>43717</c:v>
                </c:pt>
                <c:pt idx="405">
                  <c:v>43718</c:v>
                </c:pt>
                <c:pt idx="406">
                  <c:v>43719</c:v>
                </c:pt>
                <c:pt idx="407">
                  <c:v>43720</c:v>
                </c:pt>
                <c:pt idx="408">
                  <c:v>43721</c:v>
                </c:pt>
                <c:pt idx="409">
                  <c:v>43722</c:v>
                </c:pt>
                <c:pt idx="410">
                  <c:v>43723</c:v>
                </c:pt>
                <c:pt idx="411">
                  <c:v>43724</c:v>
                </c:pt>
                <c:pt idx="412">
                  <c:v>43725</c:v>
                </c:pt>
                <c:pt idx="413">
                  <c:v>43726</c:v>
                </c:pt>
                <c:pt idx="414">
                  <c:v>43727</c:v>
                </c:pt>
                <c:pt idx="415">
                  <c:v>43728</c:v>
                </c:pt>
                <c:pt idx="416">
                  <c:v>43729</c:v>
                </c:pt>
                <c:pt idx="417">
                  <c:v>43730</c:v>
                </c:pt>
                <c:pt idx="418">
                  <c:v>43731</c:v>
                </c:pt>
                <c:pt idx="419">
                  <c:v>43732</c:v>
                </c:pt>
                <c:pt idx="420">
                  <c:v>43733</c:v>
                </c:pt>
                <c:pt idx="421">
                  <c:v>43734</c:v>
                </c:pt>
                <c:pt idx="422">
                  <c:v>43735</c:v>
                </c:pt>
                <c:pt idx="423">
                  <c:v>43736</c:v>
                </c:pt>
                <c:pt idx="424">
                  <c:v>43737</c:v>
                </c:pt>
                <c:pt idx="425">
                  <c:v>43738</c:v>
                </c:pt>
                <c:pt idx="426">
                  <c:v>43739</c:v>
                </c:pt>
                <c:pt idx="427">
                  <c:v>43740</c:v>
                </c:pt>
                <c:pt idx="428">
                  <c:v>43741</c:v>
                </c:pt>
                <c:pt idx="429">
                  <c:v>43742</c:v>
                </c:pt>
                <c:pt idx="430">
                  <c:v>43743</c:v>
                </c:pt>
                <c:pt idx="431">
                  <c:v>43744</c:v>
                </c:pt>
                <c:pt idx="432">
                  <c:v>43745</c:v>
                </c:pt>
                <c:pt idx="433">
                  <c:v>43746</c:v>
                </c:pt>
                <c:pt idx="434">
                  <c:v>43747</c:v>
                </c:pt>
                <c:pt idx="435">
                  <c:v>43748</c:v>
                </c:pt>
                <c:pt idx="436">
                  <c:v>43749</c:v>
                </c:pt>
                <c:pt idx="437">
                  <c:v>43750</c:v>
                </c:pt>
                <c:pt idx="438">
                  <c:v>43751</c:v>
                </c:pt>
                <c:pt idx="439">
                  <c:v>43752</c:v>
                </c:pt>
                <c:pt idx="440">
                  <c:v>43753</c:v>
                </c:pt>
                <c:pt idx="441">
                  <c:v>43754</c:v>
                </c:pt>
                <c:pt idx="442">
                  <c:v>43755</c:v>
                </c:pt>
                <c:pt idx="443">
                  <c:v>43756</c:v>
                </c:pt>
                <c:pt idx="444">
                  <c:v>43757</c:v>
                </c:pt>
                <c:pt idx="445">
                  <c:v>43758</c:v>
                </c:pt>
                <c:pt idx="446">
                  <c:v>43759</c:v>
                </c:pt>
                <c:pt idx="447">
                  <c:v>43760</c:v>
                </c:pt>
                <c:pt idx="448">
                  <c:v>43761</c:v>
                </c:pt>
                <c:pt idx="449">
                  <c:v>43762</c:v>
                </c:pt>
                <c:pt idx="450">
                  <c:v>43763</c:v>
                </c:pt>
                <c:pt idx="451">
                  <c:v>43764</c:v>
                </c:pt>
                <c:pt idx="452">
                  <c:v>43765</c:v>
                </c:pt>
                <c:pt idx="453">
                  <c:v>43766</c:v>
                </c:pt>
                <c:pt idx="454">
                  <c:v>43767</c:v>
                </c:pt>
                <c:pt idx="455">
                  <c:v>43768</c:v>
                </c:pt>
                <c:pt idx="456">
                  <c:v>43769</c:v>
                </c:pt>
                <c:pt idx="457">
                  <c:v>43770</c:v>
                </c:pt>
                <c:pt idx="458">
                  <c:v>43771</c:v>
                </c:pt>
                <c:pt idx="459">
                  <c:v>43772</c:v>
                </c:pt>
                <c:pt idx="460">
                  <c:v>43773</c:v>
                </c:pt>
                <c:pt idx="461">
                  <c:v>43774</c:v>
                </c:pt>
                <c:pt idx="462">
                  <c:v>43775</c:v>
                </c:pt>
                <c:pt idx="463">
                  <c:v>43776</c:v>
                </c:pt>
                <c:pt idx="464">
                  <c:v>43777</c:v>
                </c:pt>
                <c:pt idx="465">
                  <c:v>43778</c:v>
                </c:pt>
                <c:pt idx="466">
                  <c:v>43779</c:v>
                </c:pt>
                <c:pt idx="467">
                  <c:v>43780</c:v>
                </c:pt>
                <c:pt idx="468">
                  <c:v>43781</c:v>
                </c:pt>
                <c:pt idx="469">
                  <c:v>43782</c:v>
                </c:pt>
                <c:pt idx="470">
                  <c:v>43783</c:v>
                </c:pt>
                <c:pt idx="471">
                  <c:v>43784</c:v>
                </c:pt>
                <c:pt idx="472">
                  <c:v>43785</c:v>
                </c:pt>
                <c:pt idx="473">
                  <c:v>43786</c:v>
                </c:pt>
                <c:pt idx="474">
                  <c:v>43787</c:v>
                </c:pt>
                <c:pt idx="475">
                  <c:v>43788</c:v>
                </c:pt>
                <c:pt idx="476">
                  <c:v>43789</c:v>
                </c:pt>
                <c:pt idx="477">
                  <c:v>43790</c:v>
                </c:pt>
                <c:pt idx="478">
                  <c:v>43791</c:v>
                </c:pt>
                <c:pt idx="479">
                  <c:v>43792</c:v>
                </c:pt>
                <c:pt idx="480">
                  <c:v>43793</c:v>
                </c:pt>
                <c:pt idx="481">
                  <c:v>43794</c:v>
                </c:pt>
                <c:pt idx="482">
                  <c:v>43795</c:v>
                </c:pt>
                <c:pt idx="483">
                  <c:v>43796</c:v>
                </c:pt>
                <c:pt idx="484">
                  <c:v>43797</c:v>
                </c:pt>
                <c:pt idx="485">
                  <c:v>43798</c:v>
                </c:pt>
                <c:pt idx="486">
                  <c:v>43799</c:v>
                </c:pt>
                <c:pt idx="487">
                  <c:v>43800</c:v>
                </c:pt>
                <c:pt idx="488">
                  <c:v>43801</c:v>
                </c:pt>
                <c:pt idx="489">
                  <c:v>43802</c:v>
                </c:pt>
                <c:pt idx="490">
                  <c:v>43803</c:v>
                </c:pt>
                <c:pt idx="491">
                  <c:v>43804</c:v>
                </c:pt>
                <c:pt idx="492">
                  <c:v>43805</c:v>
                </c:pt>
                <c:pt idx="493">
                  <c:v>43806</c:v>
                </c:pt>
                <c:pt idx="494">
                  <c:v>43807</c:v>
                </c:pt>
                <c:pt idx="495">
                  <c:v>43808</c:v>
                </c:pt>
                <c:pt idx="496">
                  <c:v>43809</c:v>
                </c:pt>
                <c:pt idx="497">
                  <c:v>43810</c:v>
                </c:pt>
                <c:pt idx="498">
                  <c:v>43811</c:v>
                </c:pt>
                <c:pt idx="499">
                  <c:v>43812</c:v>
                </c:pt>
                <c:pt idx="500">
                  <c:v>43813</c:v>
                </c:pt>
                <c:pt idx="501">
                  <c:v>43814</c:v>
                </c:pt>
                <c:pt idx="502">
                  <c:v>43815</c:v>
                </c:pt>
                <c:pt idx="503">
                  <c:v>43816</c:v>
                </c:pt>
                <c:pt idx="504">
                  <c:v>43817</c:v>
                </c:pt>
                <c:pt idx="505">
                  <c:v>43818</c:v>
                </c:pt>
                <c:pt idx="506">
                  <c:v>43819</c:v>
                </c:pt>
                <c:pt idx="507">
                  <c:v>43820</c:v>
                </c:pt>
                <c:pt idx="508">
                  <c:v>43821</c:v>
                </c:pt>
                <c:pt idx="509">
                  <c:v>43822</c:v>
                </c:pt>
                <c:pt idx="510">
                  <c:v>43823</c:v>
                </c:pt>
                <c:pt idx="511">
                  <c:v>43824</c:v>
                </c:pt>
                <c:pt idx="512">
                  <c:v>43825</c:v>
                </c:pt>
                <c:pt idx="513">
                  <c:v>43826</c:v>
                </c:pt>
                <c:pt idx="514">
                  <c:v>43827</c:v>
                </c:pt>
                <c:pt idx="515">
                  <c:v>43828</c:v>
                </c:pt>
                <c:pt idx="516">
                  <c:v>43829</c:v>
                </c:pt>
                <c:pt idx="517">
                  <c:v>43830</c:v>
                </c:pt>
                <c:pt idx="518">
                  <c:v>43831</c:v>
                </c:pt>
                <c:pt idx="519">
                  <c:v>43832</c:v>
                </c:pt>
                <c:pt idx="520">
                  <c:v>43833</c:v>
                </c:pt>
                <c:pt idx="521">
                  <c:v>43834</c:v>
                </c:pt>
                <c:pt idx="522">
                  <c:v>43835</c:v>
                </c:pt>
                <c:pt idx="523">
                  <c:v>43836</c:v>
                </c:pt>
                <c:pt idx="524">
                  <c:v>43837</c:v>
                </c:pt>
                <c:pt idx="525">
                  <c:v>43838</c:v>
                </c:pt>
                <c:pt idx="526">
                  <c:v>43839</c:v>
                </c:pt>
                <c:pt idx="527">
                  <c:v>43840</c:v>
                </c:pt>
                <c:pt idx="528">
                  <c:v>43841</c:v>
                </c:pt>
                <c:pt idx="529">
                  <c:v>43842</c:v>
                </c:pt>
                <c:pt idx="530">
                  <c:v>43843</c:v>
                </c:pt>
                <c:pt idx="531">
                  <c:v>43844</c:v>
                </c:pt>
                <c:pt idx="532">
                  <c:v>43845</c:v>
                </c:pt>
                <c:pt idx="533">
                  <c:v>43846</c:v>
                </c:pt>
                <c:pt idx="534">
                  <c:v>43847</c:v>
                </c:pt>
                <c:pt idx="535">
                  <c:v>43848</c:v>
                </c:pt>
                <c:pt idx="536">
                  <c:v>43849</c:v>
                </c:pt>
                <c:pt idx="537">
                  <c:v>43850</c:v>
                </c:pt>
                <c:pt idx="538">
                  <c:v>43851</c:v>
                </c:pt>
                <c:pt idx="539">
                  <c:v>43852</c:v>
                </c:pt>
                <c:pt idx="540">
                  <c:v>43853</c:v>
                </c:pt>
                <c:pt idx="541">
                  <c:v>43854</c:v>
                </c:pt>
                <c:pt idx="542">
                  <c:v>43855</c:v>
                </c:pt>
                <c:pt idx="543">
                  <c:v>43856</c:v>
                </c:pt>
                <c:pt idx="544">
                  <c:v>43857</c:v>
                </c:pt>
                <c:pt idx="545">
                  <c:v>43858</c:v>
                </c:pt>
                <c:pt idx="546">
                  <c:v>43859</c:v>
                </c:pt>
                <c:pt idx="547">
                  <c:v>43860</c:v>
                </c:pt>
                <c:pt idx="548">
                  <c:v>43861</c:v>
                </c:pt>
                <c:pt idx="549">
                  <c:v>43862</c:v>
                </c:pt>
                <c:pt idx="550">
                  <c:v>43863</c:v>
                </c:pt>
                <c:pt idx="551">
                  <c:v>43864</c:v>
                </c:pt>
                <c:pt idx="552">
                  <c:v>43865</c:v>
                </c:pt>
                <c:pt idx="553">
                  <c:v>43866</c:v>
                </c:pt>
                <c:pt idx="554">
                  <c:v>43867</c:v>
                </c:pt>
                <c:pt idx="555">
                  <c:v>43868</c:v>
                </c:pt>
                <c:pt idx="556">
                  <c:v>43869</c:v>
                </c:pt>
                <c:pt idx="557">
                  <c:v>43870</c:v>
                </c:pt>
                <c:pt idx="558">
                  <c:v>43871</c:v>
                </c:pt>
                <c:pt idx="559">
                  <c:v>43872</c:v>
                </c:pt>
                <c:pt idx="560">
                  <c:v>43873</c:v>
                </c:pt>
                <c:pt idx="561">
                  <c:v>43874</c:v>
                </c:pt>
                <c:pt idx="562">
                  <c:v>43875</c:v>
                </c:pt>
                <c:pt idx="563">
                  <c:v>43876</c:v>
                </c:pt>
                <c:pt idx="564">
                  <c:v>43877</c:v>
                </c:pt>
                <c:pt idx="565">
                  <c:v>43878</c:v>
                </c:pt>
                <c:pt idx="566">
                  <c:v>43879</c:v>
                </c:pt>
                <c:pt idx="567">
                  <c:v>43880</c:v>
                </c:pt>
                <c:pt idx="568">
                  <c:v>43881</c:v>
                </c:pt>
                <c:pt idx="569">
                  <c:v>43882</c:v>
                </c:pt>
                <c:pt idx="570">
                  <c:v>43883</c:v>
                </c:pt>
                <c:pt idx="571">
                  <c:v>43884</c:v>
                </c:pt>
                <c:pt idx="572">
                  <c:v>43885</c:v>
                </c:pt>
                <c:pt idx="573">
                  <c:v>43886</c:v>
                </c:pt>
                <c:pt idx="574">
                  <c:v>43887</c:v>
                </c:pt>
                <c:pt idx="575">
                  <c:v>43888</c:v>
                </c:pt>
                <c:pt idx="576">
                  <c:v>43889</c:v>
                </c:pt>
                <c:pt idx="577">
                  <c:v>43890</c:v>
                </c:pt>
                <c:pt idx="578">
                  <c:v>43891</c:v>
                </c:pt>
                <c:pt idx="579">
                  <c:v>43892</c:v>
                </c:pt>
                <c:pt idx="580">
                  <c:v>43893</c:v>
                </c:pt>
                <c:pt idx="581">
                  <c:v>43894</c:v>
                </c:pt>
                <c:pt idx="582">
                  <c:v>43895</c:v>
                </c:pt>
                <c:pt idx="583">
                  <c:v>43896</c:v>
                </c:pt>
                <c:pt idx="584">
                  <c:v>43897</c:v>
                </c:pt>
                <c:pt idx="585">
                  <c:v>43898</c:v>
                </c:pt>
                <c:pt idx="586">
                  <c:v>43899</c:v>
                </c:pt>
                <c:pt idx="587">
                  <c:v>43900</c:v>
                </c:pt>
                <c:pt idx="588">
                  <c:v>43901</c:v>
                </c:pt>
                <c:pt idx="589">
                  <c:v>43902</c:v>
                </c:pt>
                <c:pt idx="590">
                  <c:v>43903</c:v>
                </c:pt>
                <c:pt idx="591">
                  <c:v>43904</c:v>
                </c:pt>
                <c:pt idx="592">
                  <c:v>43905</c:v>
                </c:pt>
                <c:pt idx="593">
                  <c:v>43906</c:v>
                </c:pt>
                <c:pt idx="594">
                  <c:v>43907</c:v>
                </c:pt>
                <c:pt idx="595">
                  <c:v>43908</c:v>
                </c:pt>
                <c:pt idx="596">
                  <c:v>43909</c:v>
                </c:pt>
                <c:pt idx="597">
                  <c:v>43910</c:v>
                </c:pt>
                <c:pt idx="598">
                  <c:v>43911</c:v>
                </c:pt>
                <c:pt idx="599">
                  <c:v>43912</c:v>
                </c:pt>
                <c:pt idx="600">
                  <c:v>43913</c:v>
                </c:pt>
                <c:pt idx="601">
                  <c:v>43914</c:v>
                </c:pt>
                <c:pt idx="602">
                  <c:v>43915</c:v>
                </c:pt>
                <c:pt idx="603">
                  <c:v>43916</c:v>
                </c:pt>
                <c:pt idx="604">
                  <c:v>43917</c:v>
                </c:pt>
                <c:pt idx="605">
                  <c:v>43918</c:v>
                </c:pt>
                <c:pt idx="606">
                  <c:v>43919</c:v>
                </c:pt>
                <c:pt idx="607">
                  <c:v>43920</c:v>
                </c:pt>
                <c:pt idx="608">
                  <c:v>43921</c:v>
                </c:pt>
                <c:pt idx="609">
                  <c:v>43922</c:v>
                </c:pt>
                <c:pt idx="610">
                  <c:v>43923</c:v>
                </c:pt>
                <c:pt idx="611">
                  <c:v>43924</c:v>
                </c:pt>
                <c:pt idx="612">
                  <c:v>43925</c:v>
                </c:pt>
                <c:pt idx="613">
                  <c:v>43926</c:v>
                </c:pt>
                <c:pt idx="614">
                  <c:v>43927</c:v>
                </c:pt>
                <c:pt idx="615">
                  <c:v>43928</c:v>
                </c:pt>
                <c:pt idx="616">
                  <c:v>43929</c:v>
                </c:pt>
                <c:pt idx="617">
                  <c:v>43930</c:v>
                </c:pt>
                <c:pt idx="618">
                  <c:v>43931</c:v>
                </c:pt>
                <c:pt idx="619">
                  <c:v>43932</c:v>
                </c:pt>
                <c:pt idx="620">
                  <c:v>43933</c:v>
                </c:pt>
                <c:pt idx="621">
                  <c:v>43934</c:v>
                </c:pt>
                <c:pt idx="622">
                  <c:v>43935</c:v>
                </c:pt>
                <c:pt idx="623">
                  <c:v>43936</c:v>
                </c:pt>
                <c:pt idx="624">
                  <c:v>43937</c:v>
                </c:pt>
                <c:pt idx="625">
                  <c:v>43938</c:v>
                </c:pt>
                <c:pt idx="626">
                  <c:v>43939</c:v>
                </c:pt>
                <c:pt idx="627">
                  <c:v>43940</c:v>
                </c:pt>
                <c:pt idx="628">
                  <c:v>43941</c:v>
                </c:pt>
                <c:pt idx="629">
                  <c:v>43942</c:v>
                </c:pt>
                <c:pt idx="630">
                  <c:v>43943</c:v>
                </c:pt>
                <c:pt idx="631">
                  <c:v>43944</c:v>
                </c:pt>
                <c:pt idx="632">
                  <c:v>43945</c:v>
                </c:pt>
                <c:pt idx="633">
                  <c:v>43946</c:v>
                </c:pt>
                <c:pt idx="634">
                  <c:v>43947</c:v>
                </c:pt>
                <c:pt idx="635">
                  <c:v>43948</c:v>
                </c:pt>
                <c:pt idx="636">
                  <c:v>43949</c:v>
                </c:pt>
                <c:pt idx="637">
                  <c:v>43950</c:v>
                </c:pt>
                <c:pt idx="638">
                  <c:v>43951</c:v>
                </c:pt>
                <c:pt idx="639">
                  <c:v>43952</c:v>
                </c:pt>
                <c:pt idx="640">
                  <c:v>43953</c:v>
                </c:pt>
                <c:pt idx="641">
                  <c:v>43954</c:v>
                </c:pt>
                <c:pt idx="642">
                  <c:v>43955</c:v>
                </c:pt>
                <c:pt idx="643">
                  <c:v>43956</c:v>
                </c:pt>
                <c:pt idx="644">
                  <c:v>43957</c:v>
                </c:pt>
                <c:pt idx="645">
                  <c:v>43958</c:v>
                </c:pt>
                <c:pt idx="646">
                  <c:v>43959</c:v>
                </c:pt>
                <c:pt idx="647">
                  <c:v>43960</c:v>
                </c:pt>
                <c:pt idx="648">
                  <c:v>43961</c:v>
                </c:pt>
                <c:pt idx="649">
                  <c:v>43962</c:v>
                </c:pt>
                <c:pt idx="650">
                  <c:v>43963</c:v>
                </c:pt>
                <c:pt idx="651">
                  <c:v>43964</c:v>
                </c:pt>
                <c:pt idx="652">
                  <c:v>43965</c:v>
                </c:pt>
                <c:pt idx="653">
                  <c:v>43966</c:v>
                </c:pt>
                <c:pt idx="654">
                  <c:v>43967</c:v>
                </c:pt>
                <c:pt idx="655">
                  <c:v>43968</c:v>
                </c:pt>
                <c:pt idx="656">
                  <c:v>43969</c:v>
                </c:pt>
                <c:pt idx="657">
                  <c:v>43970</c:v>
                </c:pt>
                <c:pt idx="658">
                  <c:v>43971</c:v>
                </c:pt>
                <c:pt idx="659">
                  <c:v>43972</c:v>
                </c:pt>
                <c:pt idx="660">
                  <c:v>43973</c:v>
                </c:pt>
                <c:pt idx="661">
                  <c:v>43974</c:v>
                </c:pt>
                <c:pt idx="662">
                  <c:v>43975</c:v>
                </c:pt>
                <c:pt idx="663">
                  <c:v>43976</c:v>
                </c:pt>
                <c:pt idx="664">
                  <c:v>43977</c:v>
                </c:pt>
                <c:pt idx="665">
                  <c:v>43978</c:v>
                </c:pt>
                <c:pt idx="666">
                  <c:v>43979</c:v>
                </c:pt>
                <c:pt idx="667">
                  <c:v>43980</c:v>
                </c:pt>
                <c:pt idx="668">
                  <c:v>43981</c:v>
                </c:pt>
                <c:pt idx="669">
                  <c:v>43982</c:v>
                </c:pt>
                <c:pt idx="670">
                  <c:v>43983</c:v>
                </c:pt>
                <c:pt idx="671">
                  <c:v>43984</c:v>
                </c:pt>
                <c:pt idx="672">
                  <c:v>43985</c:v>
                </c:pt>
                <c:pt idx="673">
                  <c:v>43986</c:v>
                </c:pt>
                <c:pt idx="674">
                  <c:v>43987</c:v>
                </c:pt>
                <c:pt idx="675">
                  <c:v>43988</c:v>
                </c:pt>
                <c:pt idx="676">
                  <c:v>43989</c:v>
                </c:pt>
                <c:pt idx="677">
                  <c:v>43990</c:v>
                </c:pt>
                <c:pt idx="678">
                  <c:v>43991</c:v>
                </c:pt>
                <c:pt idx="679">
                  <c:v>43992</c:v>
                </c:pt>
                <c:pt idx="680">
                  <c:v>43993</c:v>
                </c:pt>
                <c:pt idx="681">
                  <c:v>43994</c:v>
                </c:pt>
                <c:pt idx="682">
                  <c:v>43995</c:v>
                </c:pt>
                <c:pt idx="683">
                  <c:v>43996</c:v>
                </c:pt>
                <c:pt idx="684">
                  <c:v>43997</c:v>
                </c:pt>
                <c:pt idx="685">
                  <c:v>43998</c:v>
                </c:pt>
                <c:pt idx="686">
                  <c:v>43999</c:v>
                </c:pt>
                <c:pt idx="687">
                  <c:v>44000</c:v>
                </c:pt>
                <c:pt idx="688">
                  <c:v>44001</c:v>
                </c:pt>
                <c:pt idx="689">
                  <c:v>44002</c:v>
                </c:pt>
                <c:pt idx="690">
                  <c:v>44003</c:v>
                </c:pt>
                <c:pt idx="691">
                  <c:v>44004</c:v>
                </c:pt>
                <c:pt idx="692">
                  <c:v>44005</c:v>
                </c:pt>
                <c:pt idx="693">
                  <c:v>44006</c:v>
                </c:pt>
                <c:pt idx="694">
                  <c:v>44007</c:v>
                </c:pt>
                <c:pt idx="695">
                  <c:v>44008</c:v>
                </c:pt>
                <c:pt idx="696">
                  <c:v>44009</c:v>
                </c:pt>
                <c:pt idx="697">
                  <c:v>44010</c:v>
                </c:pt>
                <c:pt idx="698">
                  <c:v>44011</c:v>
                </c:pt>
                <c:pt idx="699">
                  <c:v>44012</c:v>
                </c:pt>
                <c:pt idx="700">
                  <c:v>44013</c:v>
                </c:pt>
                <c:pt idx="701">
                  <c:v>44014</c:v>
                </c:pt>
                <c:pt idx="702">
                  <c:v>44015</c:v>
                </c:pt>
                <c:pt idx="703">
                  <c:v>44016</c:v>
                </c:pt>
                <c:pt idx="704">
                  <c:v>44017</c:v>
                </c:pt>
                <c:pt idx="705">
                  <c:v>44018</c:v>
                </c:pt>
                <c:pt idx="706">
                  <c:v>44019</c:v>
                </c:pt>
                <c:pt idx="707">
                  <c:v>44020</c:v>
                </c:pt>
                <c:pt idx="708">
                  <c:v>44021</c:v>
                </c:pt>
                <c:pt idx="709">
                  <c:v>44022</c:v>
                </c:pt>
                <c:pt idx="710">
                  <c:v>44023</c:v>
                </c:pt>
                <c:pt idx="711">
                  <c:v>44024</c:v>
                </c:pt>
                <c:pt idx="712">
                  <c:v>44025</c:v>
                </c:pt>
                <c:pt idx="713">
                  <c:v>44026</c:v>
                </c:pt>
                <c:pt idx="714">
                  <c:v>44027</c:v>
                </c:pt>
                <c:pt idx="715">
                  <c:v>44028</c:v>
                </c:pt>
                <c:pt idx="716">
                  <c:v>44029</c:v>
                </c:pt>
                <c:pt idx="717">
                  <c:v>44030</c:v>
                </c:pt>
                <c:pt idx="718">
                  <c:v>44031</c:v>
                </c:pt>
                <c:pt idx="719">
                  <c:v>44032</c:v>
                </c:pt>
                <c:pt idx="720">
                  <c:v>44033</c:v>
                </c:pt>
                <c:pt idx="721">
                  <c:v>44034</c:v>
                </c:pt>
                <c:pt idx="722">
                  <c:v>44035</c:v>
                </c:pt>
                <c:pt idx="723">
                  <c:v>44036</c:v>
                </c:pt>
                <c:pt idx="724">
                  <c:v>44037</c:v>
                </c:pt>
                <c:pt idx="725">
                  <c:v>44038</c:v>
                </c:pt>
                <c:pt idx="726">
                  <c:v>44039</c:v>
                </c:pt>
                <c:pt idx="727">
                  <c:v>44040</c:v>
                </c:pt>
                <c:pt idx="728">
                  <c:v>44041</c:v>
                </c:pt>
                <c:pt idx="729">
                  <c:v>44042</c:v>
                </c:pt>
                <c:pt idx="730">
                  <c:v>44043</c:v>
                </c:pt>
                <c:pt idx="731">
                  <c:v>44044</c:v>
                </c:pt>
                <c:pt idx="732">
                  <c:v>44045</c:v>
                </c:pt>
                <c:pt idx="733">
                  <c:v>44046</c:v>
                </c:pt>
                <c:pt idx="734">
                  <c:v>44047</c:v>
                </c:pt>
                <c:pt idx="735">
                  <c:v>44048</c:v>
                </c:pt>
                <c:pt idx="736">
                  <c:v>44049</c:v>
                </c:pt>
                <c:pt idx="737">
                  <c:v>44050</c:v>
                </c:pt>
                <c:pt idx="738">
                  <c:v>44051</c:v>
                </c:pt>
                <c:pt idx="739">
                  <c:v>44052</c:v>
                </c:pt>
                <c:pt idx="740">
                  <c:v>44053</c:v>
                </c:pt>
                <c:pt idx="741">
                  <c:v>44054</c:v>
                </c:pt>
                <c:pt idx="742">
                  <c:v>44055</c:v>
                </c:pt>
                <c:pt idx="743">
                  <c:v>44056</c:v>
                </c:pt>
                <c:pt idx="744">
                  <c:v>44057</c:v>
                </c:pt>
                <c:pt idx="745">
                  <c:v>44058</c:v>
                </c:pt>
                <c:pt idx="746">
                  <c:v>44059</c:v>
                </c:pt>
                <c:pt idx="747">
                  <c:v>44060</c:v>
                </c:pt>
                <c:pt idx="748">
                  <c:v>44061</c:v>
                </c:pt>
                <c:pt idx="749">
                  <c:v>44062</c:v>
                </c:pt>
                <c:pt idx="750">
                  <c:v>44063</c:v>
                </c:pt>
                <c:pt idx="751">
                  <c:v>44064</c:v>
                </c:pt>
                <c:pt idx="752">
                  <c:v>44065</c:v>
                </c:pt>
                <c:pt idx="753">
                  <c:v>44066</c:v>
                </c:pt>
                <c:pt idx="754">
                  <c:v>44067</c:v>
                </c:pt>
                <c:pt idx="755">
                  <c:v>44068</c:v>
                </c:pt>
                <c:pt idx="756">
                  <c:v>44069</c:v>
                </c:pt>
                <c:pt idx="757">
                  <c:v>44070</c:v>
                </c:pt>
                <c:pt idx="758">
                  <c:v>44071</c:v>
                </c:pt>
                <c:pt idx="759">
                  <c:v>44072</c:v>
                </c:pt>
                <c:pt idx="760">
                  <c:v>44073</c:v>
                </c:pt>
                <c:pt idx="761">
                  <c:v>44074</c:v>
                </c:pt>
                <c:pt idx="762">
                  <c:v>44075</c:v>
                </c:pt>
                <c:pt idx="763">
                  <c:v>44076</c:v>
                </c:pt>
                <c:pt idx="764">
                  <c:v>44077</c:v>
                </c:pt>
                <c:pt idx="765">
                  <c:v>44078</c:v>
                </c:pt>
                <c:pt idx="766">
                  <c:v>44079</c:v>
                </c:pt>
                <c:pt idx="767">
                  <c:v>44080</c:v>
                </c:pt>
                <c:pt idx="768">
                  <c:v>44081</c:v>
                </c:pt>
                <c:pt idx="769">
                  <c:v>44082</c:v>
                </c:pt>
                <c:pt idx="770">
                  <c:v>44083</c:v>
                </c:pt>
                <c:pt idx="771">
                  <c:v>44084</c:v>
                </c:pt>
                <c:pt idx="772">
                  <c:v>44085</c:v>
                </c:pt>
                <c:pt idx="773">
                  <c:v>44086</c:v>
                </c:pt>
                <c:pt idx="774">
                  <c:v>44087</c:v>
                </c:pt>
                <c:pt idx="775">
                  <c:v>44088</c:v>
                </c:pt>
                <c:pt idx="776">
                  <c:v>44089</c:v>
                </c:pt>
                <c:pt idx="777">
                  <c:v>44090</c:v>
                </c:pt>
                <c:pt idx="778">
                  <c:v>44091</c:v>
                </c:pt>
                <c:pt idx="779">
                  <c:v>44092</c:v>
                </c:pt>
                <c:pt idx="780">
                  <c:v>44093</c:v>
                </c:pt>
                <c:pt idx="781">
                  <c:v>44094</c:v>
                </c:pt>
                <c:pt idx="782">
                  <c:v>44095</c:v>
                </c:pt>
                <c:pt idx="783">
                  <c:v>44096</c:v>
                </c:pt>
                <c:pt idx="784">
                  <c:v>44097</c:v>
                </c:pt>
                <c:pt idx="785">
                  <c:v>44098</c:v>
                </c:pt>
                <c:pt idx="786">
                  <c:v>44099</c:v>
                </c:pt>
                <c:pt idx="787">
                  <c:v>44100</c:v>
                </c:pt>
                <c:pt idx="788">
                  <c:v>44101</c:v>
                </c:pt>
                <c:pt idx="789">
                  <c:v>44102</c:v>
                </c:pt>
                <c:pt idx="790">
                  <c:v>44103</c:v>
                </c:pt>
                <c:pt idx="791">
                  <c:v>44104</c:v>
                </c:pt>
                <c:pt idx="792">
                  <c:v>44105</c:v>
                </c:pt>
                <c:pt idx="793">
                  <c:v>44106</c:v>
                </c:pt>
                <c:pt idx="794">
                  <c:v>44107</c:v>
                </c:pt>
                <c:pt idx="795">
                  <c:v>44108</c:v>
                </c:pt>
                <c:pt idx="796">
                  <c:v>44109</c:v>
                </c:pt>
                <c:pt idx="797">
                  <c:v>44110</c:v>
                </c:pt>
                <c:pt idx="798">
                  <c:v>44111</c:v>
                </c:pt>
                <c:pt idx="799">
                  <c:v>44112</c:v>
                </c:pt>
                <c:pt idx="800">
                  <c:v>44113</c:v>
                </c:pt>
                <c:pt idx="801">
                  <c:v>44114</c:v>
                </c:pt>
                <c:pt idx="802">
                  <c:v>44115</c:v>
                </c:pt>
                <c:pt idx="803">
                  <c:v>44116</c:v>
                </c:pt>
                <c:pt idx="804">
                  <c:v>44117</c:v>
                </c:pt>
                <c:pt idx="805">
                  <c:v>44118</c:v>
                </c:pt>
                <c:pt idx="806">
                  <c:v>44119</c:v>
                </c:pt>
                <c:pt idx="807">
                  <c:v>44120</c:v>
                </c:pt>
                <c:pt idx="808">
                  <c:v>44121</c:v>
                </c:pt>
                <c:pt idx="809">
                  <c:v>44122</c:v>
                </c:pt>
                <c:pt idx="810">
                  <c:v>44123</c:v>
                </c:pt>
                <c:pt idx="811">
                  <c:v>44124</c:v>
                </c:pt>
                <c:pt idx="812">
                  <c:v>44125</c:v>
                </c:pt>
                <c:pt idx="813">
                  <c:v>44126</c:v>
                </c:pt>
                <c:pt idx="814">
                  <c:v>44127</c:v>
                </c:pt>
                <c:pt idx="815">
                  <c:v>44128</c:v>
                </c:pt>
                <c:pt idx="816">
                  <c:v>44129</c:v>
                </c:pt>
                <c:pt idx="817">
                  <c:v>44130</c:v>
                </c:pt>
                <c:pt idx="818">
                  <c:v>44131</c:v>
                </c:pt>
                <c:pt idx="819">
                  <c:v>44132</c:v>
                </c:pt>
                <c:pt idx="820">
                  <c:v>44133</c:v>
                </c:pt>
                <c:pt idx="821">
                  <c:v>44134</c:v>
                </c:pt>
                <c:pt idx="822">
                  <c:v>44135</c:v>
                </c:pt>
                <c:pt idx="823">
                  <c:v>44136</c:v>
                </c:pt>
                <c:pt idx="824">
                  <c:v>44137</c:v>
                </c:pt>
                <c:pt idx="825">
                  <c:v>44138</c:v>
                </c:pt>
                <c:pt idx="826">
                  <c:v>44139</c:v>
                </c:pt>
                <c:pt idx="827">
                  <c:v>44140</c:v>
                </c:pt>
                <c:pt idx="828">
                  <c:v>44141</c:v>
                </c:pt>
                <c:pt idx="829">
                  <c:v>44142</c:v>
                </c:pt>
                <c:pt idx="830">
                  <c:v>44143</c:v>
                </c:pt>
                <c:pt idx="831">
                  <c:v>44144</c:v>
                </c:pt>
                <c:pt idx="832">
                  <c:v>44145</c:v>
                </c:pt>
                <c:pt idx="833">
                  <c:v>44146</c:v>
                </c:pt>
                <c:pt idx="834">
                  <c:v>44147</c:v>
                </c:pt>
                <c:pt idx="835">
                  <c:v>44148</c:v>
                </c:pt>
                <c:pt idx="836">
                  <c:v>44149</c:v>
                </c:pt>
                <c:pt idx="837">
                  <c:v>44150</c:v>
                </c:pt>
                <c:pt idx="838">
                  <c:v>44151</c:v>
                </c:pt>
                <c:pt idx="839">
                  <c:v>44152</c:v>
                </c:pt>
                <c:pt idx="840">
                  <c:v>44153</c:v>
                </c:pt>
                <c:pt idx="841">
                  <c:v>44154</c:v>
                </c:pt>
                <c:pt idx="842">
                  <c:v>44155</c:v>
                </c:pt>
                <c:pt idx="843">
                  <c:v>44156</c:v>
                </c:pt>
                <c:pt idx="844">
                  <c:v>44157</c:v>
                </c:pt>
                <c:pt idx="845">
                  <c:v>44158</c:v>
                </c:pt>
                <c:pt idx="846">
                  <c:v>44159</c:v>
                </c:pt>
                <c:pt idx="847">
                  <c:v>44160</c:v>
                </c:pt>
                <c:pt idx="848">
                  <c:v>44161</c:v>
                </c:pt>
                <c:pt idx="849">
                  <c:v>44162</c:v>
                </c:pt>
                <c:pt idx="850">
                  <c:v>44163</c:v>
                </c:pt>
                <c:pt idx="851">
                  <c:v>44164</c:v>
                </c:pt>
                <c:pt idx="852">
                  <c:v>44165</c:v>
                </c:pt>
                <c:pt idx="853">
                  <c:v>44166</c:v>
                </c:pt>
                <c:pt idx="854">
                  <c:v>44167</c:v>
                </c:pt>
                <c:pt idx="855">
                  <c:v>44168</c:v>
                </c:pt>
                <c:pt idx="856">
                  <c:v>44169</c:v>
                </c:pt>
                <c:pt idx="857">
                  <c:v>44170</c:v>
                </c:pt>
                <c:pt idx="858">
                  <c:v>44171</c:v>
                </c:pt>
                <c:pt idx="859">
                  <c:v>44172</c:v>
                </c:pt>
                <c:pt idx="860">
                  <c:v>44173</c:v>
                </c:pt>
                <c:pt idx="861">
                  <c:v>44174</c:v>
                </c:pt>
                <c:pt idx="862">
                  <c:v>44175</c:v>
                </c:pt>
                <c:pt idx="863">
                  <c:v>44176</c:v>
                </c:pt>
                <c:pt idx="864">
                  <c:v>44177</c:v>
                </c:pt>
                <c:pt idx="865">
                  <c:v>44178</c:v>
                </c:pt>
                <c:pt idx="866">
                  <c:v>44179</c:v>
                </c:pt>
                <c:pt idx="867">
                  <c:v>44180</c:v>
                </c:pt>
                <c:pt idx="868">
                  <c:v>44181</c:v>
                </c:pt>
                <c:pt idx="869">
                  <c:v>44182</c:v>
                </c:pt>
                <c:pt idx="870">
                  <c:v>44183</c:v>
                </c:pt>
                <c:pt idx="871">
                  <c:v>44184</c:v>
                </c:pt>
                <c:pt idx="872">
                  <c:v>44185</c:v>
                </c:pt>
                <c:pt idx="873">
                  <c:v>44186</c:v>
                </c:pt>
                <c:pt idx="874">
                  <c:v>44187</c:v>
                </c:pt>
                <c:pt idx="875">
                  <c:v>44188</c:v>
                </c:pt>
                <c:pt idx="876">
                  <c:v>44189</c:v>
                </c:pt>
                <c:pt idx="877">
                  <c:v>44190</c:v>
                </c:pt>
                <c:pt idx="878">
                  <c:v>44191</c:v>
                </c:pt>
                <c:pt idx="879">
                  <c:v>44192</c:v>
                </c:pt>
                <c:pt idx="880">
                  <c:v>44193</c:v>
                </c:pt>
                <c:pt idx="881">
                  <c:v>44194</c:v>
                </c:pt>
                <c:pt idx="882">
                  <c:v>44195</c:v>
                </c:pt>
                <c:pt idx="883">
                  <c:v>44196</c:v>
                </c:pt>
                <c:pt idx="884">
                  <c:v>44197</c:v>
                </c:pt>
                <c:pt idx="885">
                  <c:v>44198</c:v>
                </c:pt>
                <c:pt idx="886">
                  <c:v>44199</c:v>
                </c:pt>
                <c:pt idx="887">
                  <c:v>44200</c:v>
                </c:pt>
                <c:pt idx="888">
                  <c:v>44201</c:v>
                </c:pt>
                <c:pt idx="889">
                  <c:v>44202</c:v>
                </c:pt>
                <c:pt idx="890">
                  <c:v>44203</c:v>
                </c:pt>
                <c:pt idx="891">
                  <c:v>44204</c:v>
                </c:pt>
                <c:pt idx="892">
                  <c:v>44205</c:v>
                </c:pt>
                <c:pt idx="893">
                  <c:v>44206</c:v>
                </c:pt>
                <c:pt idx="894">
                  <c:v>44207</c:v>
                </c:pt>
                <c:pt idx="895">
                  <c:v>44208</c:v>
                </c:pt>
                <c:pt idx="896">
                  <c:v>44209</c:v>
                </c:pt>
                <c:pt idx="897">
                  <c:v>44210</c:v>
                </c:pt>
                <c:pt idx="898">
                  <c:v>44211</c:v>
                </c:pt>
                <c:pt idx="899">
                  <c:v>44212</c:v>
                </c:pt>
                <c:pt idx="900">
                  <c:v>44213</c:v>
                </c:pt>
                <c:pt idx="901">
                  <c:v>44214</c:v>
                </c:pt>
                <c:pt idx="902">
                  <c:v>44215</c:v>
                </c:pt>
                <c:pt idx="903">
                  <c:v>44216</c:v>
                </c:pt>
                <c:pt idx="904">
                  <c:v>44217</c:v>
                </c:pt>
                <c:pt idx="905">
                  <c:v>44218</c:v>
                </c:pt>
                <c:pt idx="906">
                  <c:v>44219</c:v>
                </c:pt>
                <c:pt idx="907">
                  <c:v>44220</c:v>
                </c:pt>
                <c:pt idx="908">
                  <c:v>44221</c:v>
                </c:pt>
                <c:pt idx="909">
                  <c:v>44222</c:v>
                </c:pt>
                <c:pt idx="910">
                  <c:v>44223</c:v>
                </c:pt>
                <c:pt idx="911">
                  <c:v>44224</c:v>
                </c:pt>
                <c:pt idx="912">
                  <c:v>44225</c:v>
                </c:pt>
                <c:pt idx="913">
                  <c:v>44226</c:v>
                </c:pt>
                <c:pt idx="914">
                  <c:v>44227</c:v>
                </c:pt>
                <c:pt idx="915">
                  <c:v>44228</c:v>
                </c:pt>
                <c:pt idx="916">
                  <c:v>44229</c:v>
                </c:pt>
                <c:pt idx="917">
                  <c:v>44230</c:v>
                </c:pt>
                <c:pt idx="918">
                  <c:v>44231</c:v>
                </c:pt>
                <c:pt idx="919">
                  <c:v>44232</c:v>
                </c:pt>
                <c:pt idx="920">
                  <c:v>44233</c:v>
                </c:pt>
                <c:pt idx="921">
                  <c:v>44234</c:v>
                </c:pt>
                <c:pt idx="922">
                  <c:v>44235</c:v>
                </c:pt>
                <c:pt idx="923">
                  <c:v>44236</c:v>
                </c:pt>
                <c:pt idx="924">
                  <c:v>44237</c:v>
                </c:pt>
                <c:pt idx="925">
                  <c:v>44238</c:v>
                </c:pt>
                <c:pt idx="926">
                  <c:v>44239</c:v>
                </c:pt>
                <c:pt idx="927">
                  <c:v>44240</c:v>
                </c:pt>
                <c:pt idx="928">
                  <c:v>44241</c:v>
                </c:pt>
                <c:pt idx="929">
                  <c:v>44242</c:v>
                </c:pt>
                <c:pt idx="930">
                  <c:v>44243</c:v>
                </c:pt>
                <c:pt idx="931">
                  <c:v>44244</c:v>
                </c:pt>
                <c:pt idx="932">
                  <c:v>44245</c:v>
                </c:pt>
                <c:pt idx="933">
                  <c:v>44246</c:v>
                </c:pt>
                <c:pt idx="934">
                  <c:v>44247</c:v>
                </c:pt>
                <c:pt idx="935">
                  <c:v>44248</c:v>
                </c:pt>
                <c:pt idx="936">
                  <c:v>44249</c:v>
                </c:pt>
                <c:pt idx="937">
                  <c:v>44250</c:v>
                </c:pt>
                <c:pt idx="938">
                  <c:v>44251</c:v>
                </c:pt>
                <c:pt idx="939">
                  <c:v>44252</c:v>
                </c:pt>
                <c:pt idx="940">
                  <c:v>44253</c:v>
                </c:pt>
                <c:pt idx="941">
                  <c:v>44254</c:v>
                </c:pt>
                <c:pt idx="942">
                  <c:v>44255</c:v>
                </c:pt>
                <c:pt idx="943">
                  <c:v>44256</c:v>
                </c:pt>
                <c:pt idx="944">
                  <c:v>44257</c:v>
                </c:pt>
                <c:pt idx="945">
                  <c:v>44258</c:v>
                </c:pt>
                <c:pt idx="946">
                  <c:v>44259</c:v>
                </c:pt>
                <c:pt idx="947">
                  <c:v>44260</c:v>
                </c:pt>
                <c:pt idx="948">
                  <c:v>44261</c:v>
                </c:pt>
                <c:pt idx="949">
                  <c:v>44262</c:v>
                </c:pt>
                <c:pt idx="950">
                  <c:v>44263</c:v>
                </c:pt>
                <c:pt idx="951">
                  <c:v>44264</c:v>
                </c:pt>
                <c:pt idx="952">
                  <c:v>44265</c:v>
                </c:pt>
                <c:pt idx="953">
                  <c:v>44266</c:v>
                </c:pt>
                <c:pt idx="954">
                  <c:v>44267</c:v>
                </c:pt>
                <c:pt idx="955">
                  <c:v>44268</c:v>
                </c:pt>
                <c:pt idx="956">
                  <c:v>44269</c:v>
                </c:pt>
                <c:pt idx="957">
                  <c:v>44270</c:v>
                </c:pt>
                <c:pt idx="958">
                  <c:v>44271</c:v>
                </c:pt>
                <c:pt idx="959">
                  <c:v>44272</c:v>
                </c:pt>
                <c:pt idx="960">
                  <c:v>44273</c:v>
                </c:pt>
                <c:pt idx="961">
                  <c:v>44274</c:v>
                </c:pt>
                <c:pt idx="962">
                  <c:v>44275</c:v>
                </c:pt>
                <c:pt idx="963">
                  <c:v>44276</c:v>
                </c:pt>
                <c:pt idx="964">
                  <c:v>44277</c:v>
                </c:pt>
                <c:pt idx="965">
                  <c:v>44278</c:v>
                </c:pt>
                <c:pt idx="966">
                  <c:v>44279</c:v>
                </c:pt>
                <c:pt idx="967">
                  <c:v>44280</c:v>
                </c:pt>
                <c:pt idx="968">
                  <c:v>44281</c:v>
                </c:pt>
                <c:pt idx="969">
                  <c:v>44282</c:v>
                </c:pt>
                <c:pt idx="970">
                  <c:v>44283</c:v>
                </c:pt>
                <c:pt idx="971">
                  <c:v>44284</c:v>
                </c:pt>
                <c:pt idx="972">
                  <c:v>44285</c:v>
                </c:pt>
                <c:pt idx="973">
                  <c:v>44286</c:v>
                </c:pt>
                <c:pt idx="974">
                  <c:v>44287</c:v>
                </c:pt>
                <c:pt idx="975">
                  <c:v>44288</c:v>
                </c:pt>
                <c:pt idx="976">
                  <c:v>44289</c:v>
                </c:pt>
                <c:pt idx="977">
                  <c:v>44290</c:v>
                </c:pt>
                <c:pt idx="978">
                  <c:v>44291</c:v>
                </c:pt>
                <c:pt idx="979">
                  <c:v>44292</c:v>
                </c:pt>
                <c:pt idx="980">
                  <c:v>44293</c:v>
                </c:pt>
                <c:pt idx="981">
                  <c:v>44294</c:v>
                </c:pt>
                <c:pt idx="982">
                  <c:v>44295</c:v>
                </c:pt>
                <c:pt idx="983">
                  <c:v>44296</c:v>
                </c:pt>
                <c:pt idx="984">
                  <c:v>44297</c:v>
                </c:pt>
                <c:pt idx="985">
                  <c:v>44298</c:v>
                </c:pt>
                <c:pt idx="986">
                  <c:v>44299</c:v>
                </c:pt>
                <c:pt idx="987">
                  <c:v>44300</c:v>
                </c:pt>
                <c:pt idx="988">
                  <c:v>44301</c:v>
                </c:pt>
                <c:pt idx="989">
                  <c:v>44302</c:v>
                </c:pt>
                <c:pt idx="990">
                  <c:v>44303</c:v>
                </c:pt>
                <c:pt idx="991">
                  <c:v>44304</c:v>
                </c:pt>
                <c:pt idx="992">
                  <c:v>44305</c:v>
                </c:pt>
                <c:pt idx="993">
                  <c:v>44306</c:v>
                </c:pt>
                <c:pt idx="994">
                  <c:v>44307</c:v>
                </c:pt>
                <c:pt idx="995">
                  <c:v>44308</c:v>
                </c:pt>
                <c:pt idx="996">
                  <c:v>44309</c:v>
                </c:pt>
                <c:pt idx="997">
                  <c:v>44310</c:v>
                </c:pt>
                <c:pt idx="998">
                  <c:v>44311</c:v>
                </c:pt>
                <c:pt idx="999">
                  <c:v>44312</c:v>
                </c:pt>
                <c:pt idx="1000">
                  <c:v>44313</c:v>
                </c:pt>
                <c:pt idx="1001">
                  <c:v>44314</c:v>
                </c:pt>
                <c:pt idx="1002">
                  <c:v>44315</c:v>
                </c:pt>
                <c:pt idx="1003">
                  <c:v>44316</c:v>
                </c:pt>
                <c:pt idx="1004">
                  <c:v>44317</c:v>
                </c:pt>
                <c:pt idx="1005">
                  <c:v>44318</c:v>
                </c:pt>
                <c:pt idx="1006">
                  <c:v>44319</c:v>
                </c:pt>
                <c:pt idx="1007">
                  <c:v>44320</c:v>
                </c:pt>
                <c:pt idx="1008">
                  <c:v>44321</c:v>
                </c:pt>
                <c:pt idx="1009">
                  <c:v>44322</c:v>
                </c:pt>
                <c:pt idx="1010">
                  <c:v>44323</c:v>
                </c:pt>
                <c:pt idx="1011">
                  <c:v>44324</c:v>
                </c:pt>
                <c:pt idx="1012">
                  <c:v>44325</c:v>
                </c:pt>
                <c:pt idx="1013">
                  <c:v>44326</c:v>
                </c:pt>
                <c:pt idx="1014">
                  <c:v>44327</c:v>
                </c:pt>
                <c:pt idx="1015">
                  <c:v>44328</c:v>
                </c:pt>
                <c:pt idx="1016">
                  <c:v>44329</c:v>
                </c:pt>
                <c:pt idx="1017">
                  <c:v>44330</c:v>
                </c:pt>
                <c:pt idx="1018">
                  <c:v>44331</c:v>
                </c:pt>
                <c:pt idx="1019">
                  <c:v>44332</c:v>
                </c:pt>
                <c:pt idx="1020">
                  <c:v>44333</c:v>
                </c:pt>
                <c:pt idx="1021">
                  <c:v>44334</c:v>
                </c:pt>
                <c:pt idx="1022">
                  <c:v>44335</c:v>
                </c:pt>
                <c:pt idx="1023">
                  <c:v>44336</c:v>
                </c:pt>
                <c:pt idx="1024">
                  <c:v>44337</c:v>
                </c:pt>
                <c:pt idx="1025">
                  <c:v>44338</c:v>
                </c:pt>
                <c:pt idx="1026">
                  <c:v>44339</c:v>
                </c:pt>
                <c:pt idx="1027">
                  <c:v>44340</c:v>
                </c:pt>
                <c:pt idx="1028">
                  <c:v>44341</c:v>
                </c:pt>
                <c:pt idx="1029">
                  <c:v>44342</c:v>
                </c:pt>
                <c:pt idx="1030">
                  <c:v>44343</c:v>
                </c:pt>
                <c:pt idx="1031">
                  <c:v>44344</c:v>
                </c:pt>
                <c:pt idx="1032">
                  <c:v>44345</c:v>
                </c:pt>
                <c:pt idx="1033">
                  <c:v>44346</c:v>
                </c:pt>
                <c:pt idx="1034">
                  <c:v>44347</c:v>
                </c:pt>
                <c:pt idx="1035">
                  <c:v>44348</c:v>
                </c:pt>
                <c:pt idx="1036">
                  <c:v>44349</c:v>
                </c:pt>
                <c:pt idx="1037">
                  <c:v>44350</c:v>
                </c:pt>
                <c:pt idx="1038">
                  <c:v>44351</c:v>
                </c:pt>
                <c:pt idx="1039">
                  <c:v>44352</c:v>
                </c:pt>
                <c:pt idx="1040">
                  <c:v>44353</c:v>
                </c:pt>
                <c:pt idx="1041">
                  <c:v>44354</c:v>
                </c:pt>
                <c:pt idx="1042">
                  <c:v>44355</c:v>
                </c:pt>
                <c:pt idx="1043">
                  <c:v>44356</c:v>
                </c:pt>
                <c:pt idx="1044">
                  <c:v>44357</c:v>
                </c:pt>
                <c:pt idx="1045">
                  <c:v>44358</c:v>
                </c:pt>
                <c:pt idx="1046">
                  <c:v>44359</c:v>
                </c:pt>
                <c:pt idx="1047">
                  <c:v>44360</c:v>
                </c:pt>
                <c:pt idx="1048">
                  <c:v>44361</c:v>
                </c:pt>
                <c:pt idx="1049">
                  <c:v>44362</c:v>
                </c:pt>
                <c:pt idx="1050">
                  <c:v>44363</c:v>
                </c:pt>
                <c:pt idx="1051">
                  <c:v>44364</c:v>
                </c:pt>
                <c:pt idx="1052">
                  <c:v>44365</c:v>
                </c:pt>
                <c:pt idx="1053">
                  <c:v>44366</c:v>
                </c:pt>
                <c:pt idx="1054">
                  <c:v>44367</c:v>
                </c:pt>
                <c:pt idx="1055">
                  <c:v>44368</c:v>
                </c:pt>
                <c:pt idx="1056">
                  <c:v>44369</c:v>
                </c:pt>
                <c:pt idx="1057">
                  <c:v>44370</c:v>
                </c:pt>
                <c:pt idx="1058">
                  <c:v>44371</c:v>
                </c:pt>
                <c:pt idx="1059">
                  <c:v>44372</c:v>
                </c:pt>
                <c:pt idx="1060">
                  <c:v>44373</c:v>
                </c:pt>
                <c:pt idx="1061">
                  <c:v>44374</c:v>
                </c:pt>
                <c:pt idx="1062">
                  <c:v>44375</c:v>
                </c:pt>
                <c:pt idx="1063">
                  <c:v>44376</c:v>
                </c:pt>
                <c:pt idx="1064">
                  <c:v>44377</c:v>
                </c:pt>
                <c:pt idx="1065">
                  <c:v>44378</c:v>
                </c:pt>
                <c:pt idx="1066">
                  <c:v>44379</c:v>
                </c:pt>
                <c:pt idx="1067">
                  <c:v>44380</c:v>
                </c:pt>
                <c:pt idx="1068">
                  <c:v>44381</c:v>
                </c:pt>
                <c:pt idx="1069">
                  <c:v>44382</c:v>
                </c:pt>
                <c:pt idx="1070">
                  <c:v>44383</c:v>
                </c:pt>
                <c:pt idx="1071">
                  <c:v>44384</c:v>
                </c:pt>
                <c:pt idx="1072">
                  <c:v>44385</c:v>
                </c:pt>
                <c:pt idx="1073">
                  <c:v>44386</c:v>
                </c:pt>
                <c:pt idx="1074">
                  <c:v>44387</c:v>
                </c:pt>
                <c:pt idx="1075">
                  <c:v>44388</c:v>
                </c:pt>
                <c:pt idx="1076">
                  <c:v>44389</c:v>
                </c:pt>
                <c:pt idx="1077">
                  <c:v>44390</c:v>
                </c:pt>
                <c:pt idx="1078">
                  <c:v>44391</c:v>
                </c:pt>
                <c:pt idx="1079">
                  <c:v>44392</c:v>
                </c:pt>
                <c:pt idx="1080">
                  <c:v>44393</c:v>
                </c:pt>
                <c:pt idx="1081">
                  <c:v>44394</c:v>
                </c:pt>
                <c:pt idx="1082">
                  <c:v>44395</c:v>
                </c:pt>
                <c:pt idx="1083">
                  <c:v>44396</c:v>
                </c:pt>
                <c:pt idx="1084">
                  <c:v>44397</c:v>
                </c:pt>
                <c:pt idx="1085">
                  <c:v>44398</c:v>
                </c:pt>
                <c:pt idx="1086">
                  <c:v>44399</c:v>
                </c:pt>
                <c:pt idx="1087">
                  <c:v>44400</c:v>
                </c:pt>
                <c:pt idx="1088">
                  <c:v>44401</c:v>
                </c:pt>
                <c:pt idx="1089">
                  <c:v>44402</c:v>
                </c:pt>
                <c:pt idx="1090">
                  <c:v>44403</c:v>
                </c:pt>
                <c:pt idx="1091">
                  <c:v>44404</c:v>
                </c:pt>
                <c:pt idx="1092">
                  <c:v>44405</c:v>
                </c:pt>
                <c:pt idx="1093">
                  <c:v>44406</c:v>
                </c:pt>
                <c:pt idx="1094">
                  <c:v>44407</c:v>
                </c:pt>
                <c:pt idx="1095">
                  <c:v>44408</c:v>
                </c:pt>
                <c:pt idx="1096">
                  <c:v>44409</c:v>
                </c:pt>
                <c:pt idx="1097">
                  <c:v>44410</c:v>
                </c:pt>
                <c:pt idx="1098">
                  <c:v>44411</c:v>
                </c:pt>
                <c:pt idx="1099">
                  <c:v>44412</c:v>
                </c:pt>
                <c:pt idx="1100">
                  <c:v>44413</c:v>
                </c:pt>
                <c:pt idx="1101">
                  <c:v>44414</c:v>
                </c:pt>
                <c:pt idx="1102">
                  <c:v>44415</c:v>
                </c:pt>
                <c:pt idx="1103">
                  <c:v>44416</c:v>
                </c:pt>
                <c:pt idx="1104">
                  <c:v>44417</c:v>
                </c:pt>
                <c:pt idx="1105">
                  <c:v>44418</c:v>
                </c:pt>
                <c:pt idx="1106">
                  <c:v>44419</c:v>
                </c:pt>
                <c:pt idx="1107">
                  <c:v>44420</c:v>
                </c:pt>
                <c:pt idx="1108">
                  <c:v>44421</c:v>
                </c:pt>
                <c:pt idx="1109">
                  <c:v>44422</c:v>
                </c:pt>
                <c:pt idx="1110">
                  <c:v>44423</c:v>
                </c:pt>
                <c:pt idx="1111">
                  <c:v>44424</c:v>
                </c:pt>
                <c:pt idx="1112">
                  <c:v>44425</c:v>
                </c:pt>
                <c:pt idx="1113">
                  <c:v>44426</c:v>
                </c:pt>
                <c:pt idx="1114">
                  <c:v>44427</c:v>
                </c:pt>
                <c:pt idx="1115">
                  <c:v>44428</c:v>
                </c:pt>
                <c:pt idx="1116">
                  <c:v>44429</c:v>
                </c:pt>
                <c:pt idx="1117">
                  <c:v>44430</c:v>
                </c:pt>
                <c:pt idx="1118">
                  <c:v>44431</c:v>
                </c:pt>
                <c:pt idx="1119">
                  <c:v>44432</c:v>
                </c:pt>
                <c:pt idx="1120">
                  <c:v>44433</c:v>
                </c:pt>
                <c:pt idx="1121">
                  <c:v>44434</c:v>
                </c:pt>
                <c:pt idx="1122">
                  <c:v>44435</c:v>
                </c:pt>
                <c:pt idx="1123">
                  <c:v>44436</c:v>
                </c:pt>
                <c:pt idx="1124">
                  <c:v>44437</c:v>
                </c:pt>
                <c:pt idx="1125">
                  <c:v>44438</c:v>
                </c:pt>
                <c:pt idx="1126">
                  <c:v>44439</c:v>
                </c:pt>
                <c:pt idx="1127">
                  <c:v>44440</c:v>
                </c:pt>
                <c:pt idx="1128">
                  <c:v>44441</c:v>
                </c:pt>
                <c:pt idx="1129">
                  <c:v>44442</c:v>
                </c:pt>
                <c:pt idx="1130">
                  <c:v>44443</c:v>
                </c:pt>
                <c:pt idx="1131">
                  <c:v>44444</c:v>
                </c:pt>
                <c:pt idx="1132">
                  <c:v>44445</c:v>
                </c:pt>
                <c:pt idx="1133">
                  <c:v>44446</c:v>
                </c:pt>
                <c:pt idx="1134">
                  <c:v>44447</c:v>
                </c:pt>
                <c:pt idx="1135">
                  <c:v>44448</c:v>
                </c:pt>
                <c:pt idx="1136">
                  <c:v>44449</c:v>
                </c:pt>
                <c:pt idx="1137">
                  <c:v>44450</c:v>
                </c:pt>
                <c:pt idx="1138">
                  <c:v>44451</c:v>
                </c:pt>
                <c:pt idx="1139">
                  <c:v>44452</c:v>
                </c:pt>
                <c:pt idx="1140">
                  <c:v>44453</c:v>
                </c:pt>
                <c:pt idx="1141">
                  <c:v>44454</c:v>
                </c:pt>
                <c:pt idx="1142">
                  <c:v>44455</c:v>
                </c:pt>
                <c:pt idx="1143">
                  <c:v>44456</c:v>
                </c:pt>
                <c:pt idx="1144">
                  <c:v>44457</c:v>
                </c:pt>
                <c:pt idx="1145">
                  <c:v>44458</c:v>
                </c:pt>
                <c:pt idx="1146">
                  <c:v>44459</c:v>
                </c:pt>
                <c:pt idx="1147">
                  <c:v>44460</c:v>
                </c:pt>
                <c:pt idx="1148">
                  <c:v>44461</c:v>
                </c:pt>
                <c:pt idx="1149">
                  <c:v>44462</c:v>
                </c:pt>
                <c:pt idx="1150">
                  <c:v>44463</c:v>
                </c:pt>
                <c:pt idx="1151">
                  <c:v>44464</c:v>
                </c:pt>
                <c:pt idx="1152">
                  <c:v>44465</c:v>
                </c:pt>
                <c:pt idx="1153">
                  <c:v>44466</c:v>
                </c:pt>
                <c:pt idx="1154">
                  <c:v>44467</c:v>
                </c:pt>
                <c:pt idx="1155">
                  <c:v>44468</c:v>
                </c:pt>
                <c:pt idx="1156">
                  <c:v>44469</c:v>
                </c:pt>
                <c:pt idx="1157">
                  <c:v>44470</c:v>
                </c:pt>
                <c:pt idx="1158">
                  <c:v>44471</c:v>
                </c:pt>
                <c:pt idx="1159">
                  <c:v>44472</c:v>
                </c:pt>
                <c:pt idx="1160">
                  <c:v>44473</c:v>
                </c:pt>
                <c:pt idx="1161">
                  <c:v>44474</c:v>
                </c:pt>
                <c:pt idx="1162">
                  <c:v>44475</c:v>
                </c:pt>
                <c:pt idx="1163">
                  <c:v>44476</c:v>
                </c:pt>
                <c:pt idx="1164">
                  <c:v>44477</c:v>
                </c:pt>
                <c:pt idx="1165">
                  <c:v>44478</c:v>
                </c:pt>
                <c:pt idx="1166">
                  <c:v>44479</c:v>
                </c:pt>
                <c:pt idx="1167">
                  <c:v>44480</c:v>
                </c:pt>
                <c:pt idx="1168">
                  <c:v>44481</c:v>
                </c:pt>
                <c:pt idx="1169">
                  <c:v>44482</c:v>
                </c:pt>
                <c:pt idx="1170">
                  <c:v>44483</c:v>
                </c:pt>
                <c:pt idx="1171">
                  <c:v>44484</c:v>
                </c:pt>
                <c:pt idx="1172">
                  <c:v>44485</c:v>
                </c:pt>
                <c:pt idx="1173">
                  <c:v>44486</c:v>
                </c:pt>
                <c:pt idx="1174">
                  <c:v>44487</c:v>
                </c:pt>
                <c:pt idx="1175">
                  <c:v>44488</c:v>
                </c:pt>
                <c:pt idx="1176">
                  <c:v>44489</c:v>
                </c:pt>
                <c:pt idx="1177">
                  <c:v>44490</c:v>
                </c:pt>
                <c:pt idx="1178">
                  <c:v>44491</c:v>
                </c:pt>
                <c:pt idx="1179">
                  <c:v>44492</c:v>
                </c:pt>
                <c:pt idx="1180">
                  <c:v>44493</c:v>
                </c:pt>
                <c:pt idx="1181">
                  <c:v>44494</c:v>
                </c:pt>
                <c:pt idx="1182">
                  <c:v>44495</c:v>
                </c:pt>
                <c:pt idx="1183">
                  <c:v>44496</c:v>
                </c:pt>
                <c:pt idx="1184">
                  <c:v>44497</c:v>
                </c:pt>
                <c:pt idx="1185">
                  <c:v>44498</c:v>
                </c:pt>
                <c:pt idx="1186">
                  <c:v>44499</c:v>
                </c:pt>
                <c:pt idx="1187">
                  <c:v>44500</c:v>
                </c:pt>
                <c:pt idx="1188">
                  <c:v>44501</c:v>
                </c:pt>
                <c:pt idx="1189">
                  <c:v>44502</c:v>
                </c:pt>
                <c:pt idx="1190">
                  <c:v>44503</c:v>
                </c:pt>
                <c:pt idx="1191">
                  <c:v>44504</c:v>
                </c:pt>
                <c:pt idx="1192">
                  <c:v>44505</c:v>
                </c:pt>
                <c:pt idx="1193">
                  <c:v>44506</c:v>
                </c:pt>
                <c:pt idx="1194">
                  <c:v>44507</c:v>
                </c:pt>
                <c:pt idx="1195">
                  <c:v>44508</c:v>
                </c:pt>
                <c:pt idx="1196">
                  <c:v>44509</c:v>
                </c:pt>
                <c:pt idx="1197">
                  <c:v>44510</c:v>
                </c:pt>
                <c:pt idx="1198">
                  <c:v>44511</c:v>
                </c:pt>
                <c:pt idx="1199">
                  <c:v>44512</c:v>
                </c:pt>
                <c:pt idx="1200">
                  <c:v>44513</c:v>
                </c:pt>
                <c:pt idx="1201">
                  <c:v>44514</c:v>
                </c:pt>
                <c:pt idx="1202">
                  <c:v>44515</c:v>
                </c:pt>
                <c:pt idx="1203">
                  <c:v>44516</c:v>
                </c:pt>
                <c:pt idx="1204">
                  <c:v>44517</c:v>
                </c:pt>
                <c:pt idx="1205">
                  <c:v>44518</c:v>
                </c:pt>
                <c:pt idx="1206">
                  <c:v>44519</c:v>
                </c:pt>
                <c:pt idx="1207">
                  <c:v>44520</c:v>
                </c:pt>
                <c:pt idx="1208">
                  <c:v>44521</c:v>
                </c:pt>
                <c:pt idx="1209">
                  <c:v>44522</c:v>
                </c:pt>
                <c:pt idx="1210">
                  <c:v>44523</c:v>
                </c:pt>
                <c:pt idx="1211">
                  <c:v>44524</c:v>
                </c:pt>
                <c:pt idx="1212">
                  <c:v>44525</c:v>
                </c:pt>
                <c:pt idx="1213">
                  <c:v>44526</c:v>
                </c:pt>
                <c:pt idx="1214">
                  <c:v>44527</c:v>
                </c:pt>
                <c:pt idx="1215">
                  <c:v>44528</c:v>
                </c:pt>
                <c:pt idx="1216">
                  <c:v>44529</c:v>
                </c:pt>
                <c:pt idx="1217">
                  <c:v>44530</c:v>
                </c:pt>
                <c:pt idx="1218">
                  <c:v>44531</c:v>
                </c:pt>
                <c:pt idx="1219">
                  <c:v>44532</c:v>
                </c:pt>
                <c:pt idx="1220">
                  <c:v>44533</c:v>
                </c:pt>
                <c:pt idx="1221">
                  <c:v>44534</c:v>
                </c:pt>
                <c:pt idx="1222">
                  <c:v>44535</c:v>
                </c:pt>
                <c:pt idx="1223">
                  <c:v>44536</c:v>
                </c:pt>
                <c:pt idx="1224">
                  <c:v>44537</c:v>
                </c:pt>
                <c:pt idx="1225">
                  <c:v>44538</c:v>
                </c:pt>
                <c:pt idx="1226">
                  <c:v>44539</c:v>
                </c:pt>
                <c:pt idx="1227">
                  <c:v>44540</c:v>
                </c:pt>
                <c:pt idx="1228">
                  <c:v>44541</c:v>
                </c:pt>
                <c:pt idx="1229">
                  <c:v>44542</c:v>
                </c:pt>
                <c:pt idx="1230">
                  <c:v>44543</c:v>
                </c:pt>
                <c:pt idx="1231">
                  <c:v>44544</c:v>
                </c:pt>
                <c:pt idx="1232">
                  <c:v>44545</c:v>
                </c:pt>
                <c:pt idx="1233">
                  <c:v>44546</c:v>
                </c:pt>
                <c:pt idx="1234">
                  <c:v>44547</c:v>
                </c:pt>
                <c:pt idx="1235">
                  <c:v>44548</c:v>
                </c:pt>
                <c:pt idx="1236">
                  <c:v>44549</c:v>
                </c:pt>
                <c:pt idx="1237">
                  <c:v>44550</c:v>
                </c:pt>
                <c:pt idx="1238">
                  <c:v>44551</c:v>
                </c:pt>
                <c:pt idx="1239">
                  <c:v>44552</c:v>
                </c:pt>
                <c:pt idx="1240">
                  <c:v>44553</c:v>
                </c:pt>
                <c:pt idx="1241">
                  <c:v>44554</c:v>
                </c:pt>
                <c:pt idx="1242">
                  <c:v>44555</c:v>
                </c:pt>
                <c:pt idx="1243">
                  <c:v>44556</c:v>
                </c:pt>
                <c:pt idx="1244">
                  <c:v>44557</c:v>
                </c:pt>
                <c:pt idx="1245">
                  <c:v>44558</c:v>
                </c:pt>
                <c:pt idx="1246">
                  <c:v>44559</c:v>
                </c:pt>
                <c:pt idx="1247">
                  <c:v>44560</c:v>
                </c:pt>
                <c:pt idx="1248">
                  <c:v>44561</c:v>
                </c:pt>
                <c:pt idx="1249">
                  <c:v>44562</c:v>
                </c:pt>
                <c:pt idx="1250">
                  <c:v>44563</c:v>
                </c:pt>
                <c:pt idx="1251">
                  <c:v>44564</c:v>
                </c:pt>
                <c:pt idx="1252">
                  <c:v>44565</c:v>
                </c:pt>
                <c:pt idx="1253">
                  <c:v>44566</c:v>
                </c:pt>
                <c:pt idx="1254">
                  <c:v>44567</c:v>
                </c:pt>
                <c:pt idx="1255">
                  <c:v>44568</c:v>
                </c:pt>
                <c:pt idx="1256">
                  <c:v>44569</c:v>
                </c:pt>
                <c:pt idx="1257">
                  <c:v>44570</c:v>
                </c:pt>
                <c:pt idx="1258">
                  <c:v>44571</c:v>
                </c:pt>
                <c:pt idx="1259">
                  <c:v>44572</c:v>
                </c:pt>
                <c:pt idx="1260">
                  <c:v>44573</c:v>
                </c:pt>
                <c:pt idx="1261">
                  <c:v>44574</c:v>
                </c:pt>
                <c:pt idx="1262">
                  <c:v>44575</c:v>
                </c:pt>
                <c:pt idx="1263">
                  <c:v>44576</c:v>
                </c:pt>
                <c:pt idx="1264">
                  <c:v>44577</c:v>
                </c:pt>
                <c:pt idx="1265">
                  <c:v>44578</c:v>
                </c:pt>
                <c:pt idx="1266">
                  <c:v>44579</c:v>
                </c:pt>
                <c:pt idx="1267">
                  <c:v>44580</c:v>
                </c:pt>
                <c:pt idx="1268">
                  <c:v>44581</c:v>
                </c:pt>
                <c:pt idx="1269">
                  <c:v>44582</c:v>
                </c:pt>
                <c:pt idx="1270">
                  <c:v>44583</c:v>
                </c:pt>
                <c:pt idx="1271">
                  <c:v>44584</c:v>
                </c:pt>
                <c:pt idx="1272">
                  <c:v>44585</c:v>
                </c:pt>
                <c:pt idx="1273">
                  <c:v>44586</c:v>
                </c:pt>
                <c:pt idx="1274">
                  <c:v>44587</c:v>
                </c:pt>
                <c:pt idx="1275">
                  <c:v>44588</c:v>
                </c:pt>
                <c:pt idx="1276">
                  <c:v>44589</c:v>
                </c:pt>
                <c:pt idx="1277">
                  <c:v>44590</c:v>
                </c:pt>
                <c:pt idx="1278">
                  <c:v>44591</c:v>
                </c:pt>
                <c:pt idx="1279">
                  <c:v>44592</c:v>
                </c:pt>
                <c:pt idx="1280">
                  <c:v>44593</c:v>
                </c:pt>
                <c:pt idx="1281">
                  <c:v>44594</c:v>
                </c:pt>
                <c:pt idx="1282">
                  <c:v>44595</c:v>
                </c:pt>
                <c:pt idx="1283">
                  <c:v>44596</c:v>
                </c:pt>
                <c:pt idx="1284">
                  <c:v>44597</c:v>
                </c:pt>
                <c:pt idx="1285">
                  <c:v>44598</c:v>
                </c:pt>
                <c:pt idx="1286">
                  <c:v>44599</c:v>
                </c:pt>
                <c:pt idx="1287">
                  <c:v>44600</c:v>
                </c:pt>
                <c:pt idx="1288">
                  <c:v>44601</c:v>
                </c:pt>
                <c:pt idx="1289">
                  <c:v>44602</c:v>
                </c:pt>
                <c:pt idx="1290">
                  <c:v>44603</c:v>
                </c:pt>
                <c:pt idx="1291">
                  <c:v>44604</c:v>
                </c:pt>
                <c:pt idx="1292">
                  <c:v>44605</c:v>
                </c:pt>
                <c:pt idx="1293">
                  <c:v>44606</c:v>
                </c:pt>
                <c:pt idx="1294">
                  <c:v>44607</c:v>
                </c:pt>
                <c:pt idx="1295">
                  <c:v>44608</c:v>
                </c:pt>
                <c:pt idx="1296">
                  <c:v>44609</c:v>
                </c:pt>
                <c:pt idx="1297">
                  <c:v>44610</c:v>
                </c:pt>
                <c:pt idx="1298">
                  <c:v>44611</c:v>
                </c:pt>
                <c:pt idx="1299">
                  <c:v>44612</c:v>
                </c:pt>
                <c:pt idx="1300">
                  <c:v>44613</c:v>
                </c:pt>
                <c:pt idx="1301">
                  <c:v>44614</c:v>
                </c:pt>
                <c:pt idx="1302">
                  <c:v>44615</c:v>
                </c:pt>
                <c:pt idx="1303">
                  <c:v>44616</c:v>
                </c:pt>
                <c:pt idx="1304">
                  <c:v>44617</c:v>
                </c:pt>
                <c:pt idx="1305">
                  <c:v>44618</c:v>
                </c:pt>
                <c:pt idx="1306">
                  <c:v>44619</c:v>
                </c:pt>
                <c:pt idx="1307">
                  <c:v>44620</c:v>
                </c:pt>
                <c:pt idx="1308">
                  <c:v>44621</c:v>
                </c:pt>
                <c:pt idx="1309">
                  <c:v>44622</c:v>
                </c:pt>
                <c:pt idx="1310">
                  <c:v>44623</c:v>
                </c:pt>
                <c:pt idx="1311">
                  <c:v>44624</c:v>
                </c:pt>
                <c:pt idx="1312">
                  <c:v>44625</c:v>
                </c:pt>
                <c:pt idx="1313">
                  <c:v>44626</c:v>
                </c:pt>
                <c:pt idx="1314">
                  <c:v>44627</c:v>
                </c:pt>
                <c:pt idx="1315">
                  <c:v>44628</c:v>
                </c:pt>
                <c:pt idx="1316">
                  <c:v>44629</c:v>
                </c:pt>
                <c:pt idx="1317">
                  <c:v>44630</c:v>
                </c:pt>
                <c:pt idx="1318">
                  <c:v>44631</c:v>
                </c:pt>
                <c:pt idx="1319">
                  <c:v>44632</c:v>
                </c:pt>
                <c:pt idx="1320">
                  <c:v>44633</c:v>
                </c:pt>
                <c:pt idx="1321">
                  <c:v>44634</c:v>
                </c:pt>
                <c:pt idx="1322">
                  <c:v>44635</c:v>
                </c:pt>
                <c:pt idx="1323">
                  <c:v>44636</c:v>
                </c:pt>
                <c:pt idx="1324">
                  <c:v>44637</c:v>
                </c:pt>
                <c:pt idx="1325">
                  <c:v>44638</c:v>
                </c:pt>
                <c:pt idx="1326">
                  <c:v>44639</c:v>
                </c:pt>
                <c:pt idx="1327">
                  <c:v>44640</c:v>
                </c:pt>
                <c:pt idx="1328">
                  <c:v>44641</c:v>
                </c:pt>
                <c:pt idx="1329">
                  <c:v>44642</c:v>
                </c:pt>
                <c:pt idx="1330">
                  <c:v>44643</c:v>
                </c:pt>
                <c:pt idx="1331">
                  <c:v>44644</c:v>
                </c:pt>
                <c:pt idx="1332">
                  <c:v>44645</c:v>
                </c:pt>
                <c:pt idx="1333">
                  <c:v>44646</c:v>
                </c:pt>
                <c:pt idx="1334">
                  <c:v>44647</c:v>
                </c:pt>
                <c:pt idx="1335">
                  <c:v>44648</c:v>
                </c:pt>
                <c:pt idx="1336">
                  <c:v>44649</c:v>
                </c:pt>
                <c:pt idx="1337">
                  <c:v>44650</c:v>
                </c:pt>
                <c:pt idx="1338">
                  <c:v>44651</c:v>
                </c:pt>
                <c:pt idx="1339">
                  <c:v>44652</c:v>
                </c:pt>
                <c:pt idx="1340">
                  <c:v>44653</c:v>
                </c:pt>
                <c:pt idx="1341">
                  <c:v>44654</c:v>
                </c:pt>
                <c:pt idx="1342">
                  <c:v>44655</c:v>
                </c:pt>
                <c:pt idx="1343">
                  <c:v>44656</c:v>
                </c:pt>
                <c:pt idx="1344">
                  <c:v>44657</c:v>
                </c:pt>
                <c:pt idx="1345">
                  <c:v>44658</c:v>
                </c:pt>
                <c:pt idx="1346">
                  <c:v>44659</c:v>
                </c:pt>
                <c:pt idx="1347">
                  <c:v>44660</c:v>
                </c:pt>
                <c:pt idx="1348">
                  <c:v>44661</c:v>
                </c:pt>
                <c:pt idx="1349">
                  <c:v>44662</c:v>
                </c:pt>
                <c:pt idx="1350">
                  <c:v>44663</c:v>
                </c:pt>
                <c:pt idx="1351">
                  <c:v>44664</c:v>
                </c:pt>
                <c:pt idx="1352">
                  <c:v>44665</c:v>
                </c:pt>
                <c:pt idx="1353">
                  <c:v>44666</c:v>
                </c:pt>
                <c:pt idx="1354">
                  <c:v>44667</c:v>
                </c:pt>
                <c:pt idx="1355">
                  <c:v>44668</c:v>
                </c:pt>
                <c:pt idx="1356">
                  <c:v>44669</c:v>
                </c:pt>
                <c:pt idx="1357">
                  <c:v>44670</c:v>
                </c:pt>
                <c:pt idx="1358">
                  <c:v>44671</c:v>
                </c:pt>
                <c:pt idx="1359">
                  <c:v>44672</c:v>
                </c:pt>
                <c:pt idx="1360">
                  <c:v>44673</c:v>
                </c:pt>
                <c:pt idx="1361">
                  <c:v>44674</c:v>
                </c:pt>
                <c:pt idx="1362">
                  <c:v>44675</c:v>
                </c:pt>
                <c:pt idx="1363">
                  <c:v>44676</c:v>
                </c:pt>
                <c:pt idx="1364">
                  <c:v>44677</c:v>
                </c:pt>
                <c:pt idx="1365">
                  <c:v>44678</c:v>
                </c:pt>
                <c:pt idx="1366">
                  <c:v>44679</c:v>
                </c:pt>
                <c:pt idx="1367">
                  <c:v>44680</c:v>
                </c:pt>
                <c:pt idx="1368">
                  <c:v>44681</c:v>
                </c:pt>
                <c:pt idx="1369">
                  <c:v>44682</c:v>
                </c:pt>
                <c:pt idx="1370">
                  <c:v>44683</c:v>
                </c:pt>
                <c:pt idx="1371">
                  <c:v>44684</c:v>
                </c:pt>
                <c:pt idx="1372">
                  <c:v>44685</c:v>
                </c:pt>
                <c:pt idx="1373">
                  <c:v>44686</c:v>
                </c:pt>
                <c:pt idx="1374">
                  <c:v>44687</c:v>
                </c:pt>
                <c:pt idx="1375">
                  <c:v>44688</c:v>
                </c:pt>
                <c:pt idx="1376">
                  <c:v>44689</c:v>
                </c:pt>
                <c:pt idx="1377">
                  <c:v>44690</c:v>
                </c:pt>
                <c:pt idx="1378">
                  <c:v>44691</c:v>
                </c:pt>
                <c:pt idx="1379">
                  <c:v>44692</c:v>
                </c:pt>
                <c:pt idx="1380">
                  <c:v>44693</c:v>
                </c:pt>
                <c:pt idx="1381">
                  <c:v>44694</c:v>
                </c:pt>
                <c:pt idx="1382">
                  <c:v>44695</c:v>
                </c:pt>
                <c:pt idx="1383">
                  <c:v>44696</c:v>
                </c:pt>
                <c:pt idx="1384">
                  <c:v>44697</c:v>
                </c:pt>
                <c:pt idx="1385">
                  <c:v>44698</c:v>
                </c:pt>
                <c:pt idx="1386">
                  <c:v>44699</c:v>
                </c:pt>
                <c:pt idx="1387">
                  <c:v>44700</c:v>
                </c:pt>
                <c:pt idx="1388">
                  <c:v>44701</c:v>
                </c:pt>
                <c:pt idx="1389">
                  <c:v>44702</c:v>
                </c:pt>
                <c:pt idx="1390">
                  <c:v>44703</c:v>
                </c:pt>
                <c:pt idx="1391">
                  <c:v>44704</c:v>
                </c:pt>
                <c:pt idx="1392">
                  <c:v>44705</c:v>
                </c:pt>
                <c:pt idx="1393">
                  <c:v>44706</c:v>
                </c:pt>
                <c:pt idx="1394">
                  <c:v>44707</c:v>
                </c:pt>
                <c:pt idx="1395">
                  <c:v>44708</c:v>
                </c:pt>
                <c:pt idx="1396">
                  <c:v>44709</c:v>
                </c:pt>
                <c:pt idx="1397">
                  <c:v>44710</c:v>
                </c:pt>
                <c:pt idx="1398">
                  <c:v>44711</c:v>
                </c:pt>
                <c:pt idx="1399">
                  <c:v>44712</c:v>
                </c:pt>
                <c:pt idx="1400">
                  <c:v>44713</c:v>
                </c:pt>
                <c:pt idx="1401">
                  <c:v>44714</c:v>
                </c:pt>
                <c:pt idx="1402">
                  <c:v>44715</c:v>
                </c:pt>
                <c:pt idx="1403">
                  <c:v>44716</c:v>
                </c:pt>
                <c:pt idx="1404">
                  <c:v>44717</c:v>
                </c:pt>
                <c:pt idx="1405">
                  <c:v>44718</c:v>
                </c:pt>
                <c:pt idx="1406">
                  <c:v>44719</c:v>
                </c:pt>
                <c:pt idx="1407">
                  <c:v>44720</c:v>
                </c:pt>
                <c:pt idx="1408">
                  <c:v>44721</c:v>
                </c:pt>
                <c:pt idx="1409">
                  <c:v>44722</c:v>
                </c:pt>
                <c:pt idx="1410">
                  <c:v>44723</c:v>
                </c:pt>
                <c:pt idx="1411">
                  <c:v>44724</c:v>
                </c:pt>
                <c:pt idx="1412">
                  <c:v>44725</c:v>
                </c:pt>
                <c:pt idx="1413">
                  <c:v>44726</c:v>
                </c:pt>
                <c:pt idx="1414">
                  <c:v>44727</c:v>
                </c:pt>
                <c:pt idx="1415">
                  <c:v>44728</c:v>
                </c:pt>
                <c:pt idx="1416">
                  <c:v>44729</c:v>
                </c:pt>
                <c:pt idx="1417">
                  <c:v>44730</c:v>
                </c:pt>
                <c:pt idx="1418">
                  <c:v>44731</c:v>
                </c:pt>
                <c:pt idx="1419">
                  <c:v>44732</c:v>
                </c:pt>
                <c:pt idx="1420">
                  <c:v>44733</c:v>
                </c:pt>
                <c:pt idx="1421">
                  <c:v>44734</c:v>
                </c:pt>
                <c:pt idx="1422">
                  <c:v>44735</c:v>
                </c:pt>
                <c:pt idx="1423">
                  <c:v>44736</c:v>
                </c:pt>
                <c:pt idx="1424">
                  <c:v>44737</c:v>
                </c:pt>
                <c:pt idx="1425">
                  <c:v>44738</c:v>
                </c:pt>
                <c:pt idx="1426">
                  <c:v>44739</c:v>
                </c:pt>
                <c:pt idx="1427">
                  <c:v>44740</c:v>
                </c:pt>
                <c:pt idx="1428">
                  <c:v>44741</c:v>
                </c:pt>
                <c:pt idx="1429">
                  <c:v>44742</c:v>
                </c:pt>
                <c:pt idx="1430">
                  <c:v>44743</c:v>
                </c:pt>
                <c:pt idx="1431">
                  <c:v>44744</c:v>
                </c:pt>
                <c:pt idx="1432">
                  <c:v>44745</c:v>
                </c:pt>
                <c:pt idx="1433">
                  <c:v>44746</c:v>
                </c:pt>
                <c:pt idx="1434">
                  <c:v>44747</c:v>
                </c:pt>
                <c:pt idx="1435">
                  <c:v>44748</c:v>
                </c:pt>
                <c:pt idx="1436">
                  <c:v>44749</c:v>
                </c:pt>
                <c:pt idx="1437">
                  <c:v>44750</c:v>
                </c:pt>
                <c:pt idx="1438">
                  <c:v>44751</c:v>
                </c:pt>
                <c:pt idx="1439">
                  <c:v>44752</c:v>
                </c:pt>
                <c:pt idx="1440">
                  <c:v>44753</c:v>
                </c:pt>
                <c:pt idx="1441">
                  <c:v>44754</c:v>
                </c:pt>
                <c:pt idx="1442">
                  <c:v>44755</c:v>
                </c:pt>
                <c:pt idx="1443">
                  <c:v>44756</c:v>
                </c:pt>
                <c:pt idx="1444">
                  <c:v>44757</c:v>
                </c:pt>
                <c:pt idx="1445">
                  <c:v>44758</c:v>
                </c:pt>
                <c:pt idx="1446">
                  <c:v>44759</c:v>
                </c:pt>
                <c:pt idx="1447">
                  <c:v>44760</c:v>
                </c:pt>
                <c:pt idx="1448">
                  <c:v>44761</c:v>
                </c:pt>
                <c:pt idx="1449">
                  <c:v>44762</c:v>
                </c:pt>
                <c:pt idx="1450">
                  <c:v>44763</c:v>
                </c:pt>
                <c:pt idx="1451">
                  <c:v>44764</c:v>
                </c:pt>
                <c:pt idx="1452">
                  <c:v>44765</c:v>
                </c:pt>
                <c:pt idx="1453">
                  <c:v>44766</c:v>
                </c:pt>
                <c:pt idx="1454">
                  <c:v>44767</c:v>
                </c:pt>
                <c:pt idx="1455">
                  <c:v>44768</c:v>
                </c:pt>
                <c:pt idx="1456">
                  <c:v>44769</c:v>
                </c:pt>
                <c:pt idx="1457">
                  <c:v>44770</c:v>
                </c:pt>
                <c:pt idx="1458">
                  <c:v>44771</c:v>
                </c:pt>
                <c:pt idx="1459">
                  <c:v>44772</c:v>
                </c:pt>
                <c:pt idx="1460">
                  <c:v>44773</c:v>
                </c:pt>
                <c:pt idx="1461">
                  <c:v>44774</c:v>
                </c:pt>
                <c:pt idx="1462">
                  <c:v>44775</c:v>
                </c:pt>
                <c:pt idx="1463">
                  <c:v>44776</c:v>
                </c:pt>
                <c:pt idx="1464">
                  <c:v>44777</c:v>
                </c:pt>
                <c:pt idx="1465">
                  <c:v>44778</c:v>
                </c:pt>
                <c:pt idx="1466">
                  <c:v>44779</c:v>
                </c:pt>
                <c:pt idx="1467">
                  <c:v>44780</c:v>
                </c:pt>
                <c:pt idx="1468">
                  <c:v>44781</c:v>
                </c:pt>
                <c:pt idx="1469">
                  <c:v>44782</c:v>
                </c:pt>
                <c:pt idx="1470">
                  <c:v>44783</c:v>
                </c:pt>
                <c:pt idx="1471">
                  <c:v>44784</c:v>
                </c:pt>
                <c:pt idx="1472">
                  <c:v>44785</c:v>
                </c:pt>
                <c:pt idx="1473">
                  <c:v>44786</c:v>
                </c:pt>
                <c:pt idx="1474">
                  <c:v>44787</c:v>
                </c:pt>
                <c:pt idx="1475">
                  <c:v>44788</c:v>
                </c:pt>
                <c:pt idx="1476">
                  <c:v>44789</c:v>
                </c:pt>
                <c:pt idx="1477">
                  <c:v>44790</c:v>
                </c:pt>
                <c:pt idx="1478">
                  <c:v>44791</c:v>
                </c:pt>
                <c:pt idx="1479">
                  <c:v>44792</c:v>
                </c:pt>
                <c:pt idx="1480">
                  <c:v>44793</c:v>
                </c:pt>
                <c:pt idx="1481">
                  <c:v>44794</c:v>
                </c:pt>
                <c:pt idx="1482">
                  <c:v>44795</c:v>
                </c:pt>
                <c:pt idx="1483">
                  <c:v>44796</c:v>
                </c:pt>
                <c:pt idx="1484">
                  <c:v>44797</c:v>
                </c:pt>
                <c:pt idx="1485">
                  <c:v>44798</c:v>
                </c:pt>
                <c:pt idx="1486">
                  <c:v>44799</c:v>
                </c:pt>
                <c:pt idx="1487">
                  <c:v>44800</c:v>
                </c:pt>
                <c:pt idx="1488">
                  <c:v>44801</c:v>
                </c:pt>
                <c:pt idx="1489">
                  <c:v>44802</c:v>
                </c:pt>
                <c:pt idx="1490">
                  <c:v>44803</c:v>
                </c:pt>
                <c:pt idx="1491">
                  <c:v>44804</c:v>
                </c:pt>
                <c:pt idx="1492">
                  <c:v>44805</c:v>
                </c:pt>
                <c:pt idx="1493">
                  <c:v>44806</c:v>
                </c:pt>
                <c:pt idx="1494">
                  <c:v>44807</c:v>
                </c:pt>
                <c:pt idx="1495">
                  <c:v>44808</c:v>
                </c:pt>
                <c:pt idx="1496">
                  <c:v>44809</c:v>
                </c:pt>
                <c:pt idx="1497">
                  <c:v>44810</c:v>
                </c:pt>
                <c:pt idx="1498">
                  <c:v>44811</c:v>
                </c:pt>
                <c:pt idx="1499">
                  <c:v>44812</c:v>
                </c:pt>
                <c:pt idx="1500">
                  <c:v>44813</c:v>
                </c:pt>
                <c:pt idx="1501">
                  <c:v>44814</c:v>
                </c:pt>
                <c:pt idx="1502">
                  <c:v>44815</c:v>
                </c:pt>
                <c:pt idx="1503">
                  <c:v>44816</c:v>
                </c:pt>
                <c:pt idx="1504">
                  <c:v>44817</c:v>
                </c:pt>
                <c:pt idx="1505">
                  <c:v>44818</c:v>
                </c:pt>
                <c:pt idx="1506">
                  <c:v>44819</c:v>
                </c:pt>
                <c:pt idx="1507">
                  <c:v>44820</c:v>
                </c:pt>
                <c:pt idx="1508">
                  <c:v>44821</c:v>
                </c:pt>
                <c:pt idx="1509">
                  <c:v>44822</c:v>
                </c:pt>
                <c:pt idx="1510">
                  <c:v>44823</c:v>
                </c:pt>
                <c:pt idx="1511">
                  <c:v>44824</c:v>
                </c:pt>
                <c:pt idx="1512">
                  <c:v>44825</c:v>
                </c:pt>
                <c:pt idx="1513">
                  <c:v>44826</c:v>
                </c:pt>
                <c:pt idx="1514">
                  <c:v>44827</c:v>
                </c:pt>
                <c:pt idx="1515">
                  <c:v>44828</c:v>
                </c:pt>
                <c:pt idx="1516">
                  <c:v>44829</c:v>
                </c:pt>
                <c:pt idx="1517">
                  <c:v>44830</c:v>
                </c:pt>
                <c:pt idx="1518">
                  <c:v>44831</c:v>
                </c:pt>
                <c:pt idx="1519">
                  <c:v>44832</c:v>
                </c:pt>
                <c:pt idx="1520">
                  <c:v>44833</c:v>
                </c:pt>
                <c:pt idx="1521">
                  <c:v>44834</c:v>
                </c:pt>
                <c:pt idx="1522">
                  <c:v>44835</c:v>
                </c:pt>
                <c:pt idx="1523">
                  <c:v>44836</c:v>
                </c:pt>
                <c:pt idx="1524">
                  <c:v>44837</c:v>
                </c:pt>
                <c:pt idx="1525">
                  <c:v>44838</c:v>
                </c:pt>
                <c:pt idx="1526">
                  <c:v>44839</c:v>
                </c:pt>
                <c:pt idx="1527">
                  <c:v>44840</c:v>
                </c:pt>
                <c:pt idx="1528">
                  <c:v>44841</c:v>
                </c:pt>
                <c:pt idx="1529">
                  <c:v>44842</c:v>
                </c:pt>
                <c:pt idx="1530">
                  <c:v>44843</c:v>
                </c:pt>
                <c:pt idx="1531">
                  <c:v>44844</c:v>
                </c:pt>
                <c:pt idx="1532">
                  <c:v>44845</c:v>
                </c:pt>
                <c:pt idx="1533">
                  <c:v>44846</c:v>
                </c:pt>
                <c:pt idx="1534">
                  <c:v>44847</c:v>
                </c:pt>
                <c:pt idx="1535">
                  <c:v>44848</c:v>
                </c:pt>
                <c:pt idx="1536">
                  <c:v>44849</c:v>
                </c:pt>
                <c:pt idx="1537">
                  <c:v>44850</c:v>
                </c:pt>
                <c:pt idx="1538">
                  <c:v>44851</c:v>
                </c:pt>
                <c:pt idx="1539">
                  <c:v>44852</c:v>
                </c:pt>
                <c:pt idx="1540">
                  <c:v>44853</c:v>
                </c:pt>
                <c:pt idx="1541">
                  <c:v>44854</c:v>
                </c:pt>
                <c:pt idx="1542">
                  <c:v>44855</c:v>
                </c:pt>
                <c:pt idx="1543">
                  <c:v>44856</c:v>
                </c:pt>
                <c:pt idx="1544">
                  <c:v>44857</c:v>
                </c:pt>
                <c:pt idx="1545">
                  <c:v>44858</c:v>
                </c:pt>
                <c:pt idx="1546">
                  <c:v>44859</c:v>
                </c:pt>
                <c:pt idx="1547">
                  <c:v>44860</c:v>
                </c:pt>
                <c:pt idx="1548">
                  <c:v>44861</c:v>
                </c:pt>
                <c:pt idx="1549">
                  <c:v>44862</c:v>
                </c:pt>
                <c:pt idx="1550">
                  <c:v>44863</c:v>
                </c:pt>
                <c:pt idx="1551">
                  <c:v>44864</c:v>
                </c:pt>
                <c:pt idx="1552">
                  <c:v>44865</c:v>
                </c:pt>
                <c:pt idx="1553">
                  <c:v>44866</c:v>
                </c:pt>
                <c:pt idx="1554">
                  <c:v>44867</c:v>
                </c:pt>
                <c:pt idx="1555">
                  <c:v>44868</c:v>
                </c:pt>
                <c:pt idx="1556">
                  <c:v>44869</c:v>
                </c:pt>
                <c:pt idx="1557">
                  <c:v>44870</c:v>
                </c:pt>
                <c:pt idx="1558">
                  <c:v>44871</c:v>
                </c:pt>
                <c:pt idx="1559">
                  <c:v>44872</c:v>
                </c:pt>
                <c:pt idx="1560">
                  <c:v>44873</c:v>
                </c:pt>
                <c:pt idx="1561">
                  <c:v>44874</c:v>
                </c:pt>
                <c:pt idx="1562">
                  <c:v>44875</c:v>
                </c:pt>
                <c:pt idx="1563">
                  <c:v>44876</c:v>
                </c:pt>
                <c:pt idx="1564">
                  <c:v>44877</c:v>
                </c:pt>
                <c:pt idx="1565">
                  <c:v>44878</c:v>
                </c:pt>
                <c:pt idx="1566">
                  <c:v>44879</c:v>
                </c:pt>
                <c:pt idx="1567">
                  <c:v>44880</c:v>
                </c:pt>
                <c:pt idx="1568">
                  <c:v>44881</c:v>
                </c:pt>
                <c:pt idx="1569">
                  <c:v>44882</c:v>
                </c:pt>
                <c:pt idx="1570">
                  <c:v>44883</c:v>
                </c:pt>
                <c:pt idx="1571">
                  <c:v>44884</c:v>
                </c:pt>
                <c:pt idx="1572">
                  <c:v>44885</c:v>
                </c:pt>
                <c:pt idx="1573">
                  <c:v>44886</c:v>
                </c:pt>
                <c:pt idx="1574">
                  <c:v>44887</c:v>
                </c:pt>
                <c:pt idx="1575">
                  <c:v>44888</c:v>
                </c:pt>
                <c:pt idx="1576">
                  <c:v>44889</c:v>
                </c:pt>
                <c:pt idx="1577">
                  <c:v>44890</c:v>
                </c:pt>
                <c:pt idx="1578">
                  <c:v>44891</c:v>
                </c:pt>
                <c:pt idx="1579">
                  <c:v>44892</c:v>
                </c:pt>
                <c:pt idx="1580">
                  <c:v>44893</c:v>
                </c:pt>
                <c:pt idx="1581">
                  <c:v>44894</c:v>
                </c:pt>
                <c:pt idx="1582">
                  <c:v>44895</c:v>
                </c:pt>
                <c:pt idx="1583">
                  <c:v>44896</c:v>
                </c:pt>
                <c:pt idx="1584">
                  <c:v>44897</c:v>
                </c:pt>
                <c:pt idx="1585">
                  <c:v>44898</c:v>
                </c:pt>
                <c:pt idx="1586">
                  <c:v>44899</c:v>
                </c:pt>
                <c:pt idx="1587">
                  <c:v>44900</c:v>
                </c:pt>
                <c:pt idx="1588">
                  <c:v>44901</c:v>
                </c:pt>
                <c:pt idx="1589">
                  <c:v>44902</c:v>
                </c:pt>
                <c:pt idx="1590">
                  <c:v>44903</c:v>
                </c:pt>
                <c:pt idx="1591">
                  <c:v>44904</c:v>
                </c:pt>
                <c:pt idx="1592">
                  <c:v>44905</c:v>
                </c:pt>
                <c:pt idx="1593">
                  <c:v>44906</c:v>
                </c:pt>
                <c:pt idx="1594">
                  <c:v>44907</c:v>
                </c:pt>
                <c:pt idx="1595">
                  <c:v>44908</c:v>
                </c:pt>
                <c:pt idx="1596">
                  <c:v>44909</c:v>
                </c:pt>
                <c:pt idx="1597">
                  <c:v>44910</c:v>
                </c:pt>
                <c:pt idx="1598">
                  <c:v>44911</c:v>
                </c:pt>
                <c:pt idx="1599">
                  <c:v>44912</c:v>
                </c:pt>
                <c:pt idx="1600">
                  <c:v>44913</c:v>
                </c:pt>
                <c:pt idx="1601">
                  <c:v>44914</c:v>
                </c:pt>
                <c:pt idx="1602">
                  <c:v>44915</c:v>
                </c:pt>
                <c:pt idx="1603">
                  <c:v>44916</c:v>
                </c:pt>
                <c:pt idx="1604">
                  <c:v>44917</c:v>
                </c:pt>
                <c:pt idx="1605">
                  <c:v>44918</c:v>
                </c:pt>
                <c:pt idx="1606">
                  <c:v>44919</c:v>
                </c:pt>
                <c:pt idx="1607">
                  <c:v>44920</c:v>
                </c:pt>
                <c:pt idx="1608">
                  <c:v>44921</c:v>
                </c:pt>
                <c:pt idx="1609">
                  <c:v>44922</c:v>
                </c:pt>
                <c:pt idx="1610">
                  <c:v>44923</c:v>
                </c:pt>
                <c:pt idx="1611">
                  <c:v>44924</c:v>
                </c:pt>
                <c:pt idx="1612">
                  <c:v>44925</c:v>
                </c:pt>
                <c:pt idx="1613">
                  <c:v>44926</c:v>
                </c:pt>
                <c:pt idx="1614">
                  <c:v>44927</c:v>
                </c:pt>
                <c:pt idx="1615">
                  <c:v>44928</c:v>
                </c:pt>
                <c:pt idx="1616">
                  <c:v>44929</c:v>
                </c:pt>
                <c:pt idx="1617">
                  <c:v>44930</c:v>
                </c:pt>
                <c:pt idx="1618">
                  <c:v>44931</c:v>
                </c:pt>
                <c:pt idx="1619">
                  <c:v>44932</c:v>
                </c:pt>
                <c:pt idx="1620">
                  <c:v>44933</c:v>
                </c:pt>
                <c:pt idx="1621">
                  <c:v>44934</c:v>
                </c:pt>
                <c:pt idx="1622">
                  <c:v>44935</c:v>
                </c:pt>
                <c:pt idx="1623">
                  <c:v>44936</c:v>
                </c:pt>
                <c:pt idx="1624">
                  <c:v>44937</c:v>
                </c:pt>
                <c:pt idx="1625">
                  <c:v>44938</c:v>
                </c:pt>
                <c:pt idx="1626">
                  <c:v>44939</c:v>
                </c:pt>
                <c:pt idx="1627">
                  <c:v>44940</c:v>
                </c:pt>
                <c:pt idx="1628">
                  <c:v>44941</c:v>
                </c:pt>
                <c:pt idx="1629">
                  <c:v>44942</c:v>
                </c:pt>
                <c:pt idx="1630">
                  <c:v>44943</c:v>
                </c:pt>
                <c:pt idx="1631">
                  <c:v>44944</c:v>
                </c:pt>
                <c:pt idx="1632">
                  <c:v>44945</c:v>
                </c:pt>
                <c:pt idx="1633">
                  <c:v>44946</c:v>
                </c:pt>
                <c:pt idx="1634">
                  <c:v>44947</c:v>
                </c:pt>
                <c:pt idx="1635">
                  <c:v>44948</c:v>
                </c:pt>
                <c:pt idx="1636">
                  <c:v>44949</c:v>
                </c:pt>
                <c:pt idx="1637">
                  <c:v>44950</c:v>
                </c:pt>
                <c:pt idx="1638">
                  <c:v>44951</c:v>
                </c:pt>
                <c:pt idx="1639">
                  <c:v>44952</c:v>
                </c:pt>
                <c:pt idx="1640">
                  <c:v>44953</c:v>
                </c:pt>
                <c:pt idx="1641">
                  <c:v>44954</c:v>
                </c:pt>
                <c:pt idx="1642">
                  <c:v>44955</c:v>
                </c:pt>
                <c:pt idx="1643">
                  <c:v>44956</c:v>
                </c:pt>
                <c:pt idx="1644">
                  <c:v>44957</c:v>
                </c:pt>
                <c:pt idx="1645">
                  <c:v>44958</c:v>
                </c:pt>
                <c:pt idx="1646">
                  <c:v>44959</c:v>
                </c:pt>
                <c:pt idx="1647">
                  <c:v>44960</c:v>
                </c:pt>
                <c:pt idx="1648">
                  <c:v>44961</c:v>
                </c:pt>
                <c:pt idx="1649">
                  <c:v>44962</c:v>
                </c:pt>
                <c:pt idx="1650">
                  <c:v>44963</c:v>
                </c:pt>
                <c:pt idx="1651">
                  <c:v>44964</c:v>
                </c:pt>
                <c:pt idx="1652">
                  <c:v>44965</c:v>
                </c:pt>
                <c:pt idx="1653">
                  <c:v>44966</c:v>
                </c:pt>
                <c:pt idx="1654">
                  <c:v>44967</c:v>
                </c:pt>
                <c:pt idx="1655">
                  <c:v>44968</c:v>
                </c:pt>
                <c:pt idx="1656">
                  <c:v>44969</c:v>
                </c:pt>
                <c:pt idx="1657">
                  <c:v>44970</c:v>
                </c:pt>
                <c:pt idx="1658">
                  <c:v>44971</c:v>
                </c:pt>
                <c:pt idx="1659">
                  <c:v>44972</c:v>
                </c:pt>
                <c:pt idx="1660">
                  <c:v>44973</c:v>
                </c:pt>
                <c:pt idx="1661">
                  <c:v>44974</c:v>
                </c:pt>
                <c:pt idx="1662">
                  <c:v>44975</c:v>
                </c:pt>
                <c:pt idx="1663">
                  <c:v>44976</c:v>
                </c:pt>
                <c:pt idx="1664">
                  <c:v>44977</c:v>
                </c:pt>
                <c:pt idx="1665">
                  <c:v>44978</c:v>
                </c:pt>
                <c:pt idx="1666">
                  <c:v>44979</c:v>
                </c:pt>
                <c:pt idx="1667">
                  <c:v>44980</c:v>
                </c:pt>
                <c:pt idx="1668">
                  <c:v>44981</c:v>
                </c:pt>
                <c:pt idx="1669">
                  <c:v>44982</c:v>
                </c:pt>
                <c:pt idx="1670">
                  <c:v>44983</c:v>
                </c:pt>
                <c:pt idx="1671">
                  <c:v>44984</c:v>
                </c:pt>
                <c:pt idx="1672">
                  <c:v>44985</c:v>
                </c:pt>
                <c:pt idx="1673">
                  <c:v>44986</c:v>
                </c:pt>
                <c:pt idx="1674">
                  <c:v>44987</c:v>
                </c:pt>
                <c:pt idx="1675">
                  <c:v>44988</c:v>
                </c:pt>
                <c:pt idx="1676">
                  <c:v>44989</c:v>
                </c:pt>
                <c:pt idx="1677">
                  <c:v>44990</c:v>
                </c:pt>
                <c:pt idx="1678">
                  <c:v>44991</c:v>
                </c:pt>
                <c:pt idx="1679">
                  <c:v>44992</c:v>
                </c:pt>
                <c:pt idx="1680">
                  <c:v>44993</c:v>
                </c:pt>
                <c:pt idx="1681">
                  <c:v>44994</c:v>
                </c:pt>
                <c:pt idx="1682">
                  <c:v>44995</c:v>
                </c:pt>
                <c:pt idx="1683">
                  <c:v>44996</c:v>
                </c:pt>
                <c:pt idx="1684">
                  <c:v>44997</c:v>
                </c:pt>
                <c:pt idx="1685">
                  <c:v>44998</c:v>
                </c:pt>
                <c:pt idx="1686">
                  <c:v>44999</c:v>
                </c:pt>
                <c:pt idx="1687">
                  <c:v>45000</c:v>
                </c:pt>
                <c:pt idx="1688">
                  <c:v>45001</c:v>
                </c:pt>
                <c:pt idx="1689">
                  <c:v>45002</c:v>
                </c:pt>
                <c:pt idx="1690">
                  <c:v>45003</c:v>
                </c:pt>
                <c:pt idx="1691">
                  <c:v>45004</c:v>
                </c:pt>
                <c:pt idx="1692">
                  <c:v>45005</c:v>
                </c:pt>
                <c:pt idx="1693">
                  <c:v>45006</c:v>
                </c:pt>
                <c:pt idx="1694">
                  <c:v>45007</c:v>
                </c:pt>
                <c:pt idx="1695">
                  <c:v>45008</c:v>
                </c:pt>
                <c:pt idx="1696">
                  <c:v>45009</c:v>
                </c:pt>
                <c:pt idx="1697">
                  <c:v>45010</c:v>
                </c:pt>
                <c:pt idx="1698">
                  <c:v>45011</c:v>
                </c:pt>
                <c:pt idx="1699">
                  <c:v>45012</c:v>
                </c:pt>
                <c:pt idx="1700">
                  <c:v>45013</c:v>
                </c:pt>
                <c:pt idx="1701">
                  <c:v>45014</c:v>
                </c:pt>
                <c:pt idx="1702">
                  <c:v>45015</c:v>
                </c:pt>
                <c:pt idx="1703">
                  <c:v>45016</c:v>
                </c:pt>
                <c:pt idx="1704">
                  <c:v>45017</c:v>
                </c:pt>
                <c:pt idx="1705">
                  <c:v>45018</c:v>
                </c:pt>
                <c:pt idx="1706">
                  <c:v>45019</c:v>
                </c:pt>
                <c:pt idx="1707">
                  <c:v>45020</c:v>
                </c:pt>
                <c:pt idx="1708">
                  <c:v>45021</c:v>
                </c:pt>
                <c:pt idx="1709">
                  <c:v>45022</c:v>
                </c:pt>
                <c:pt idx="1710">
                  <c:v>45023</c:v>
                </c:pt>
                <c:pt idx="1711">
                  <c:v>45024</c:v>
                </c:pt>
                <c:pt idx="1712">
                  <c:v>45025</c:v>
                </c:pt>
                <c:pt idx="1713">
                  <c:v>45026</c:v>
                </c:pt>
                <c:pt idx="1714">
                  <c:v>45027</c:v>
                </c:pt>
                <c:pt idx="1715">
                  <c:v>45028</c:v>
                </c:pt>
                <c:pt idx="1716">
                  <c:v>45029</c:v>
                </c:pt>
                <c:pt idx="1717">
                  <c:v>45030</c:v>
                </c:pt>
                <c:pt idx="1718">
                  <c:v>45031</c:v>
                </c:pt>
                <c:pt idx="1719">
                  <c:v>45032</c:v>
                </c:pt>
                <c:pt idx="1720">
                  <c:v>45033</c:v>
                </c:pt>
                <c:pt idx="1721">
                  <c:v>45034</c:v>
                </c:pt>
                <c:pt idx="1722">
                  <c:v>45035</c:v>
                </c:pt>
                <c:pt idx="1723">
                  <c:v>45036</c:v>
                </c:pt>
                <c:pt idx="1724">
                  <c:v>45037</c:v>
                </c:pt>
                <c:pt idx="1725">
                  <c:v>45038</c:v>
                </c:pt>
                <c:pt idx="1726">
                  <c:v>45039</c:v>
                </c:pt>
                <c:pt idx="1727">
                  <c:v>45040</c:v>
                </c:pt>
                <c:pt idx="1728">
                  <c:v>45041</c:v>
                </c:pt>
                <c:pt idx="1729">
                  <c:v>45042</c:v>
                </c:pt>
                <c:pt idx="1730">
                  <c:v>45043</c:v>
                </c:pt>
                <c:pt idx="1731">
                  <c:v>45044</c:v>
                </c:pt>
                <c:pt idx="1732">
                  <c:v>45045</c:v>
                </c:pt>
                <c:pt idx="1733">
                  <c:v>45046</c:v>
                </c:pt>
                <c:pt idx="1734">
                  <c:v>45047</c:v>
                </c:pt>
                <c:pt idx="1735">
                  <c:v>45048</c:v>
                </c:pt>
                <c:pt idx="1736">
                  <c:v>45049</c:v>
                </c:pt>
                <c:pt idx="1737">
                  <c:v>45050</c:v>
                </c:pt>
                <c:pt idx="1738">
                  <c:v>45051</c:v>
                </c:pt>
                <c:pt idx="1739">
                  <c:v>45052</c:v>
                </c:pt>
                <c:pt idx="1740">
                  <c:v>45053</c:v>
                </c:pt>
                <c:pt idx="1741">
                  <c:v>45054</c:v>
                </c:pt>
                <c:pt idx="1742">
                  <c:v>45055</c:v>
                </c:pt>
                <c:pt idx="1743">
                  <c:v>45056</c:v>
                </c:pt>
                <c:pt idx="1744">
                  <c:v>45057</c:v>
                </c:pt>
                <c:pt idx="1745">
                  <c:v>45058</c:v>
                </c:pt>
                <c:pt idx="1746">
                  <c:v>45059</c:v>
                </c:pt>
                <c:pt idx="1747">
                  <c:v>45060</c:v>
                </c:pt>
                <c:pt idx="1748">
                  <c:v>45061</c:v>
                </c:pt>
                <c:pt idx="1749">
                  <c:v>45062</c:v>
                </c:pt>
                <c:pt idx="1750">
                  <c:v>45063</c:v>
                </c:pt>
                <c:pt idx="1751">
                  <c:v>45064</c:v>
                </c:pt>
                <c:pt idx="1752">
                  <c:v>45065</c:v>
                </c:pt>
                <c:pt idx="1753">
                  <c:v>45066</c:v>
                </c:pt>
                <c:pt idx="1754">
                  <c:v>45067</c:v>
                </c:pt>
                <c:pt idx="1755">
                  <c:v>45068</c:v>
                </c:pt>
                <c:pt idx="1756">
                  <c:v>45069</c:v>
                </c:pt>
                <c:pt idx="1757">
                  <c:v>45070</c:v>
                </c:pt>
                <c:pt idx="1758">
                  <c:v>45071</c:v>
                </c:pt>
                <c:pt idx="1759">
                  <c:v>45072</c:v>
                </c:pt>
                <c:pt idx="1760">
                  <c:v>45073</c:v>
                </c:pt>
                <c:pt idx="1761">
                  <c:v>45074</c:v>
                </c:pt>
                <c:pt idx="1762">
                  <c:v>45075</c:v>
                </c:pt>
                <c:pt idx="1763">
                  <c:v>45076</c:v>
                </c:pt>
                <c:pt idx="1764">
                  <c:v>45077</c:v>
                </c:pt>
                <c:pt idx="1765">
                  <c:v>45078</c:v>
                </c:pt>
                <c:pt idx="1766">
                  <c:v>45079</c:v>
                </c:pt>
                <c:pt idx="1767">
                  <c:v>45080</c:v>
                </c:pt>
                <c:pt idx="1768">
                  <c:v>45081</c:v>
                </c:pt>
                <c:pt idx="1769">
                  <c:v>45082</c:v>
                </c:pt>
                <c:pt idx="1770">
                  <c:v>45083</c:v>
                </c:pt>
                <c:pt idx="1771">
                  <c:v>45084</c:v>
                </c:pt>
                <c:pt idx="1772">
                  <c:v>45085</c:v>
                </c:pt>
                <c:pt idx="1773">
                  <c:v>45086</c:v>
                </c:pt>
                <c:pt idx="1774">
                  <c:v>45087</c:v>
                </c:pt>
                <c:pt idx="1775">
                  <c:v>45088</c:v>
                </c:pt>
                <c:pt idx="1776">
                  <c:v>45089</c:v>
                </c:pt>
                <c:pt idx="1777">
                  <c:v>45090</c:v>
                </c:pt>
                <c:pt idx="1778">
                  <c:v>45091</c:v>
                </c:pt>
                <c:pt idx="1779">
                  <c:v>45092</c:v>
                </c:pt>
                <c:pt idx="1780">
                  <c:v>45093</c:v>
                </c:pt>
                <c:pt idx="1781">
                  <c:v>45094</c:v>
                </c:pt>
                <c:pt idx="1782">
                  <c:v>45095</c:v>
                </c:pt>
                <c:pt idx="1783">
                  <c:v>45096</c:v>
                </c:pt>
                <c:pt idx="1784">
                  <c:v>45097</c:v>
                </c:pt>
                <c:pt idx="1785">
                  <c:v>45098</c:v>
                </c:pt>
                <c:pt idx="1786">
                  <c:v>45099</c:v>
                </c:pt>
                <c:pt idx="1787">
                  <c:v>45100</c:v>
                </c:pt>
                <c:pt idx="1788">
                  <c:v>45101</c:v>
                </c:pt>
                <c:pt idx="1789">
                  <c:v>45102</c:v>
                </c:pt>
                <c:pt idx="1790">
                  <c:v>45103</c:v>
                </c:pt>
                <c:pt idx="1791">
                  <c:v>45104</c:v>
                </c:pt>
                <c:pt idx="1792">
                  <c:v>45105</c:v>
                </c:pt>
                <c:pt idx="1793">
                  <c:v>45106</c:v>
                </c:pt>
                <c:pt idx="1794">
                  <c:v>45107</c:v>
                </c:pt>
                <c:pt idx="1795">
                  <c:v>45108</c:v>
                </c:pt>
                <c:pt idx="1796">
                  <c:v>45109</c:v>
                </c:pt>
                <c:pt idx="1797">
                  <c:v>45110</c:v>
                </c:pt>
                <c:pt idx="1798">
                  <c:v>45111</c:v>
                </c:pt>
                <c:pt idx="1799">
                  <c:v>45112</c:v>
                </c:pt>
                <c:pt idx="1800">
                  <c:v>45113</c:v>
                </c:pt>
                <c:pt idx="1801">
                  <c:v>45114</c:v>
                </c:pt>
                <c:pt idx="1802">
                  <c:v>45115</c:v>
                </c:pt>
                <c:pt idx="1803">
                  <c:v>45116</c:v>
                </c:pt>
                <c:pt idx="1804">
                  <c:v>45117</c:v>
                </c:pt>
                <c:pt idx="1805">
                  <c:v>45118</c:v>
                </c:pt>
                <c:pt idx="1806">
                  <c:v>45119</c:v>
                </c:pt>
                <c:pt idx="1807">
                  <c:v>45120</c:v>
                </c:pt>
                <c:pt idx="1808">
                  <c:v>45121</c:v>
                </c:pt>
                <c:pt idx="1809">
                  <c:v>45122</c:v>
                </c:pt>
                <c:pt idx="1810">
                  <c:v>45123</c:v>
                </c:pt>
                <c:pt idx="1811">
                  <c:v>45124</c:v>
                </c:pt>
                <c:pt idx="1812">
                  <c:v>45125</c:v>
                </c:pt>
                <c:pt idx="1813">
                  <c:v>45126</c:v>
                </c:pt>
                <c:pt idx="1814">
                  <c:v>45127</c:v>
                </c:pt>
                <c:pt idx="1815">
                  <c:v>45128</c:v>
                </c:pt>
                <c:pt idx="1816">
                  <c:v>45129</c:v>
                </c:pt>
                <c:pt idx="1817">
                  <c:v>45130</c:v>
                </c:pt>
                <c:pt idx="1818">
                  <c:v>45131</c:v>
                </c:pt>
                <c:pt idx="1819">
                  <c:v>45132</c:v>
                </c:pt>
                <c:pt idx="1820">
                  <c:v>45133</c:v>
                </c:pt>
                <c:pt idx="1821">
                  <c:v>45134</c:v>
                </c:pt>
                <c:pt idx="1822">
                  <c:v>45135</c:v>
                </c:pt>
                <c:pt idx="1823">
                  <c:v>45136</c:v>
                </c:pt>
                <c:pt idx="1824">
                  <c:v>45137</c:v>
                </c:pt>
                <c:pt idx="1825">
                  <c:v>45138</c:v>
                </c:pt>
                <c:pt idx="1826">
                  <c:v>45139</c:v>
                </c:pt>
                <c:pt idx="1827">
                  <c:v>45140</c:v>
                </c:pt>
                <c:pt idx="1828">
                  <c:v>45141</c:v>
                </c:pt>
                <c:pt idx="1829">
                  <c:v>45142</c:v>
                </c:pt>
                <c:pt idx="1830">
                  <c:v>45143</c:v>
                </c:pt>
                <c:pt idx="1831">
                  <c:v>45144</c:v>
                </c:pt>
                <c:pt idx="1832">
                  <c:v>45145</c:v>
                </c:pt>
                <c:pt idx="1833">
                  <c:v>45146</c:v>
                </c:pt>
                <c:pt idx="1834">
                  <c:v>45147</c:v>
                </c:pt>
                <c:pt idx="1835">
                  <c:v>45148</c:v>
                </c:pt>
                <c:pt idx="1836">
                  <c:v>45149</c:v>
                </c:pt>
                <c:pt idx="1837">
                  <c:v>45150</c:v>
                </c:pt>
                <c:pt idx="1838">
                  <c:v>45151</c:v>
                </c:pt>
                <c:pt idx="1839">
                  <c:v>45152</c:v>
                </c:pt>
                <c:pt idx="1840">
                  <c:v>45153</c:v>
                </c:pt>
                <c:pt idx="1841">
                  <c:v>45154</c:v>
                </c:pt>
                <c:pt idx="1842">
                  <c:v>45155</c:v>
                </c:pt>
                <c:pt idx="1843">
                  <c:v>45156</c:v>
                </c:pt>
                <c:pt idx="1844">
                  <c:v>45157</c:v>
                </c:pt>
                <c:pt idx="1845">
                  <c:v>45158</c:v>
                </c:pt>
                <c:pt idx="1846">
                  <c:v>45159</c:v>
                </c:pt>
                <c:pt idx="1847">
                  <c:v>45160</c:v>
                </c:pt>
                <c:pt idx="1848">
                  <c:v>45161</c:v>
                </c:pt>
                <c:pt idx="1849">
                  <c:v>45162</c:v>
                </c:pt>
                <c:pt idx="1850">
                  <c:v>45163</c:v>
                </c:pt>
                <c:pt idx="1851">
                  <c:v>45164</c:v>
                </c:pt>
                <c:pt idx="1852">
                  <c:v>45165</c:v>
                </c:pt>
                <c:pt idx="1853">
                  <c:v>45166</c:v>
                </c:pt>
                <c:pt idx="1854">
                  <c:v>45167</c:v>
                </c:pt>
                <c:pt idx="1855">
                  <c:v>45168</c:v>
                </c:pt>
                <c:pt idx="1856">
                  <c:v>45169</c:v>
                </c:pt>
                <c:pt idx="1857">
                  <c:v>45170</c:v>
                </c:pt>
                <c:pt idx="1858">
                  <c:v>45171</c:v>
                </c:pt>
                <c:pt idx="1859">
                  <c:v>45172</c:v>
                </c:pt>
                <c:pt idx="1860">
                  <c:v>45173</c:v>
                </c:pt>
                <c:pt idx="1861">
                  <c:v>45174</c:v>
                </c:pt>
                <c:pt idx="1862">
                  <c:v>45175</c:v>
                </c:pt>
                <c:pt idx="1863">
                  <c:v>45176</c:v>
                </c:pt>
                <c:pt idx="1864">
                  <c:v>45177</c:v>
                </c:pt>
                <c:pt idx="1865">
                  <c:v>45178</c:v>
                </c:pt>
                <c:pt idx="1866">
                  <c:v>45179</c:v>
                </c:pt>
                <c:pt idx="1867">
                  <c:v>45180</c:v>
                </c:pt>
                <c:pt idx="1868">
                  <c:v>45181</c:v>
                </c:pt>
                <c:pt idx="1869">
                  <c:v>45182</c:v>
                </c:pt>
                <c:pt idx="1870">
                  <c:v>45183</c:v>
                </c:pt>
                <c:pt idx="1871">
                  <c:v>45184</c:v>
                </c:pt>
                <c:pt idx="1872">
                  <c:v>45185</c:v>
                </c:pt>
                <c:pt idx="1873">
                  <c:v>45186</c:v>
                </c:pt>
                <c:pt idx="1874">
                  <c:v>45187</c:v>
                </c:pt>
                <c:pt idx="1875">
                  <c:v>45188</c:v>
                </c:pt>
                <c:pt idx="1876">
                  <c:v>45189</c:v>
                </c:pt>
                <c:pt idx="1877">
                  <c:v>45190</c:v>
                </c:pt>
                <c:pt idx="1878">
                  <c:v>45191</c:v>
                </c:pt>
                <c:pt idx="1879">
                  <c:v>45192</c:v>
                </c:pt>
                <c:pt idx="1880">
                  <c:v>45193</c:v>
                </c:pt>
                <c:pt idx="1881">
                  <c:v>45194</c:v>
                </c:pt>
                <c:pt idx="1882">
                  <c:v>45195</c:v>
                </c:pt>
                <c:pt idx="1883">
                  <c:v>45196</c:v>
                </c:pt>
                <c:pt idx="1884">
                  <c:v>45197</c:v>
                </c:pt>
                <c:pt idx="1885">
                  <c:v>45198</c:v>
                </c:pt>
                <c:pt idx="1886">
                  <c:v>45199</c:v>
                </c:pt>
                <c:pt idx="1887">
                  <c:v>45200</c:v>
                </c:pt>
                <c:pt idx="1888">
                  <c:v>45201</c:v>
                </c:pt>
                <c:pt idx="1889">
                  <c:v>45202</c:v>
                </c:pt>
                <c:pt idx="1890">
                  <c:v>45203</c:v>
                </c:pt>
                <c:pt idx="1891">
                  <c:v>45204</c:v>
                </c:pt>
                <c:pt idx="1892">
                  <c:v>45205</c:v>
                </c:pt>
                <c:pt idx="1893">
                  <c:v>45206</c:v>
                </c:pt>
                <c:pt idx="1894">
                  <c:v>45207</c:v>
                </c:pt>
                <c:pt idx="1895">
                  <c:v>45208</c:v>
                </c:pt>
                <c:pt idx="1896">
                  <c:v>45209</c:v>
                </c:pt>
                <c:pt idx="1897">
                  <c:v>45210</c:v>
                </c:pt>
                <c:pt idx="1898">
                  <c:v>45211</c:v>
                </c:pt>
                <c:pt idx="1899">
                  <c:v>45212</c:v>
                </c:pt>
                <c:pt idx="1900">
                  <c:v>45213</c:v>
                </c:pt>
                <c:pt idx="1901">
                  <c:v>45214</c:v>
                </c:pt>
                <c:pt idx="1902">
                  <c:v>45215</c:v>
                </c:pt>
                <c:pt idx="1903">
                  <c:v>45216</c:v>
                </c:pt>
                <c:pt idx="1904">
                  <c:v>45217</c:v>
                </c:pt>
                <c:pt idx="1905">
                  <c:v>45218</c:v>
                </c:pt>
                <c:pt idx="1906">
                  <c:v>45219</c:v>
                </c:pt>
                <c:pt idx="1907">
                  <c:v>45220</c:v>
                </c:pt>
                <c:pt idx="1908">
                  <c:v>45221</c:v>
                </c:pt>
                <c:pt idx="1909">
                  <c:v>45222</c:v>
                </c:pt>
                <c:pt idx="1910">
                  <c:v>45223</c:v>
                </c:pt>
                <c:pt idx="1911">
                  <c:v>45224</c:v>
                </c:pt>
                <c:pt idx="1912">
                  <c:v>45225</c:v>
                </c:pt>
                <c:pt idx="1913">
                  <c:v>45226</c:v>
                </c:pt>
                <c:pt idx="1914">
                  <c:v>45227</c:v>
                </c:pt>
                <c:pt idx="1915">
                  <c:v>45228</c:v>
                </c:pt>
                <c:pt idx="1916">
                  <c:v>45229</c:v>
                </c:pt>
                <c:pt idx="1917">
                  <c:v>45230</c:v>
                </c:pt>
                <c:pt idx="1918">
                  <c:v>45231</c:v>
                </c:pt>
                <c:pt idx="1919">
                  <c:v>45232</c:v>
                </c:pt>
                <c:pt idx="1920">
                  <c:v>45233</c:v>
                </c:pt>
                <c:pt idx="1921">
                  <c:v>45234</c:v>
                </c:pt>
                <c:pt idx="1922">
                  <c:v>45235</c:v>
                </c:pt>
                <c:pt idx="1923">
                  <c:v>45236</c:v>
                </c:pt>
                <c:pt idx="1924">
                  <c:v>45237</c:v>
                </c:pt>
                <c:pt idx="1925">
                  <c:v>45238</c:v>
                </c:pt>
                <c:pt idx="1926">
                  <c:v>45239</c:v>
                </c:pt>
                <c:pt idx="1927">
                  <c:v>45240</c:v>
                </c:pt>
                <c:pt idx="1928">
                  <c:v>45241</c:v>
                </c:pt>
                <c:pt idx="1929">
                  <c:v>45242</c:v>
                </c:pt>
                <c:pt idx="1930">
                  <c:v>45243</c:v>
                </c:pt>
                <c:pt idx="1931">
                  <c:v>45244</c:v>
                </c:pt>
                <c:pt idx="1932">
                  <c:v>45245</c:v>
                </c:pt>
                <c:pt idx="1933">
                  <c:v>45246</c:v>
                </c:pt>
                <c:pt idx="1934">
                  <c:v>45247</c:v>
                </c:pt>
                <c:pt idx="1935">
                  <c:v>45248</c:v>
                </c:pt>
                <c:pt idx="1936">
                  <c:v>45249</c:v>
                </c:pt>
              </c:numCache>
            </c:numRef>
          </c:cat>
          <c:val>
            <c:numRef>
              <c:f>'Sheet 1'!$D$2:$D$1938</c:f>
              <c:numCache>
                <c:formatCode>General</c:formatCode>
                <c:ptCount val="1937"/>
                <c:pt idx="0">
                  <c:v>578.20000000000005</c:v>
                </c:pt>
                <c:pt idx="1">
                  <c:v>571</c:v>
                </c:pt>
                <c:pt idx="2">
                  <c:v>573.1</c:v>
                </c:pt>
                <c:pt idx="3">
                  <c:v>561.5</c:v>
                </c:pt>
                <c:pt idx="4">
                  <c:v>565.70000000000005</c:v>
                </c:pt>
                <c:pt idx="5">
                  <c:v>532.1</c:v>
                </c:pt>
                <c:pt idx="6">
                  <c:v>499.6</c:v>
                </c:pt>
                <c:pt idx="7">
                  <c:v>505.6</c:v>
                </c:pt>
                <c:pt idx="8">
                  <c:v>492.8</c:v>
                </c:pt>
                <c:pt idx="9">
                  <c:v>507.8</c:v>
                </c:pt>
                <c:pt idx="10">
                  <c:v>510.2</c:v>
                </c:pt>
                <c:pt idx="11">
                  <c:v>506.7</c:v>
                </c:pt>
                <c:pt idx="12">
                  <c:v>505.8</c:v>
                </c:pt>
                <c:pt idx="13">
                  <c:v>511.3</c:v>
                </c:pt>
                <c:pt idx="14">
                  <c:v>523.9</c:v>
                </c:pt>
                <c:pt idx="15">
                  <c:v>525.70000000000005</c:v>
                </c:pt>
                <c:pt idx="16">
                  <c:v>521.20000000000005</c:v>
                </c:pt>
                <c:pt idx="17">
                  <c:v>542.1</c:v>
                </c:pt>
                <c:pt idx="18">
                  <c:v>550.9</c:v>
                </c:pt>
                <c:pt idx="19">
                  <c:v>523</c:v>
                </c:pt>
                <c:pt idx="20">
                  <c:v>532.6</c:v>
                </c:pt>
                <c:pt idx="21">
                  <c:v>521.1</c:v>
                </c:pt>
                <c:pt idx="22">
                  <c:v>511.7</c:v>
                </c:pt>
                <c:pt idx="23">
                  <c:v>492.6</c:v>
                </c:pt>
                <c:pt idx="24">
                  <c:v>509</c:v>
                </c:pt>
                <c:pt idx="25">
                  <c:v>518.6</c:v>
                </c:pt>
                <c:pt idx="26">
                  <c:v>528.29999999999995</c:v>
                </c:pt>
                <c:pt idx="27">
                  <c:v>548</c:v>
                </c:pt>
                <c:pt idx="28">
                  <c:v>550</c:v>
                </c:pt>
                <c:pt idx="29">
                  <c:v>550.29999999999995</c:v>
                </c:pt>
                <c:pt idx="30">
                  <c:v>538.1</c:v>
                </c:pt>
                <c:pt idx="31">
                  <c:v>550.1</c:v>
                </c:pt>
                <c:pt idx="32">
                  <c:v>549.20000000000005</c:v>
                </c:pt>
                <c:pt idx="33">
                  <c:v>534.6</c:v>
                </c:pt>
                <c:pt idx="34">
                  <c:v>523.9</c:v>
                </c:pt>
                <c:pt idx="35">
                  <c:v>494</c:v>
                </c:pt>
                <c:pt idx="36">
                  <c:v>526.20000000000005</c:v>
                </c:pt>
                <c:pt idx="37">
                  <c:v>523.6</c:v>
                </c:pt>
                <c:pt idx="38">
                  <c:v>533.6</c:v>
                </c:pt>
                <c:pt idx="39">
                  <c:v>553.9</c:v>
                </c:pt>
                <c:pt idx="40">
                  <c:v>559</c:v>
                </c:pt>
                <c:pt idx="41">
                  <c:v>556.79999999999995</c:v>
                </c:pt>
                <c:pt idx="42">
                  <c:v>600.6</c:v>
                </c:pt>
                <c:pt idx="43">
                  <c:v>555.70000000000005</c:v>
                </c:pt>
                <c:pt idx="44">
                  <c:v>564.20000000000005</c:v>
                </c:pt>
                <c:pt idx="45">
                  <c:v>567.20000000000005</c:v>
                </c:pt>
                <c:pt idx="46">
                  <c:v>521.5</c:v>
                </c:pt>
                <c:pt idx="47">
                  <c:v>554.1</c:v>
                </c:pt>
                <c:pt idx="48">
                  <c:v>551.29999999999995</c:v>
                </c:pt>
                <c:pt idx="49">
                  <c:v>552.1</c:v>
                </c:pt>
                <c:pt idx="50">
                  <c:v>552.20000000000005</c:v>
                </c:pt>
                <c:pt idx="51">
                  <c:v>547.1</c:v>
                </c:pt>
                <c:pt idx="52">
                  <c:v>542.29999999999995</c:v>
                </c:pt>
                <c:pt idx="53">
                  <c:v>529.20000000000005</c:v>
                </c:pt>
                <c:pt idx="54">
                  <c:v>527.70000000000005</c:v>
                </c:pt>
                <c:pt idx="55">
                  <c:v>530.29999999999995</c:v>
                </c:pt>
                <c:pt idx="56">
                  <c:v>537.70000000000005</c:v>
                </c:pt>
                <c:pt idx="57">
                  <c:v>543.9</c:v>
                </c:pt>
                <c:pt idx="58">
                  <c:v>544.79999999999995</c:v>
                </c:pt>
                <c:pt idx="59">
                  <c:v>547.4</c:v>
                </c:pt>
                <c:pt idx="60">
                  <c:v>546.79999999999995</c:v>
                </c:pt>
                <c:pt idx="61">
                  <c:v>514.6</c:v>
                </c:pt>
                <c:pt idx="62">
                  <c:v>513.29999999999995</c:v>
                </c:pt>
                <c:pt idx="63">
                  <c:v>501.8</c:v>
                </c:pt>
                <c:pt idx="64">
                  <c:v>506.3</c:v>
                </c:pt>
                <c:pt idx="65">
                  <c:v>486.5</c:v>
                </c:pt>
                <c:pt idx="66">
                  <c:v>496.3</c:v>
                </c:pt>
                <c:pt idx="67">
                  <c:v>492.5</c:v>
                </c:pt>
                <c:pt idx="68">
                  <c:v>478.1</c:v>
                </c:pt>
                <c:pt idx="69">
                  <c:v>492.8</c:v>
                </c:pt>
                <c:pt idx="70">
                  <c:v>502.5</c:v>
                </c:pt>
                <c:pt idx="71">
                  <c:v>514.70000000000005</c:v>
                </c:pt>
                <c:pt idx="72">
                  <c:v>532.1</c:v>
                </c:pt>
                <c:pt idx="73">
                  <c:v>530.79999999999995</c:v>
                </c:pt>
                <c:pt idx="74">
                  <c:v>521.5</c:v>
                </c:pt>
                <c:pt idx="75">
                  <c:v>505.6</c:v>
                </c:pt>
                <c:pt idx="76">
                  <c:v>498.7</c:v>
                </c:pt>
                <c:pt idx="77">
                  <c:v>497.4</c:v>
                </c:pt>
                <c:pt idx="78">
                  <c:v>510</c:v>
                </c:pt>
                <c:pt idx="79">
                  <c:v>522.70000000000005</c:v>
                </c:pt>
                <c:pt idx="80">
                  <c:v>512.4</c:v>
                </c:pt>
                <c:pt idx="81">
                  <c:v>510.6</c:v>
                </c:pt>
                <c:pt idx="82">
                  <c:v>510.4</c:v>
                </c:pt>
                <c:pt idx="83">
                  <c:v>501.1</c:v>
                </c:pt>
                <c:pt idx="84">
                  <c:v>501.4</c:v>
                </c:pt>
                <c:pt idx="85">
                  <c:v>502.4</c:v>
                </c:pt>
                <c:pt idx="86">
                  <c:v>500.1</c:v>
                </c:pt>
                <c:pt idx="87">
                  <c:v>520.20000000000005</c:v>
                </c:pt>
                <c:pt idx="88">
                  <c:v>500</c:v>
                </c:pt>
                <c:pt idx="89">
                  <c:v>500.2</c:v>
                </c:pt>
                <c:pt idx="90">
                  <c:v>489.1</c:v>
                </c:pt>
                <c:pt idx="91">
                  <c:v>490.1</c:v>
                </c:pt>
                <c:pt idx="92">
                  <c:v>483.5</c:v>
                </c:pt>
                <c:pt idx="93">
                  <c:v>483.2</c:v>
                </c:pt>
                <c:pt idx="94">
                  <c:v>465.5</c:v>
                </c:pt>
                <c:pt idx="95">
                  <c:v>471.7</c:v>
                </c:pt>
                <c:pt idx="96">
                  <c:v>485.3</c:v>
                </c:pt>
                <c:pt idx="97">
                  <c:v>490.1</c:v>
                </c:pt>
                <c:pt idx="98">
                  <c:v>504.1</c:v>
                </c:pt>
                <c:pt idx="99">
                  <c:v>519</c:v>
                </c:pt>
                <c:pt idx="100">
                  <c:v>526.20000000000005</c:v>
                </c:pt>
                <c:pt idx="101">
                  <c:v>495.1</c:v>
                </c:pt>
                <c:pt idx="102">
                  <c:v>487.1</c:v>
                </c:pt>
                <c:pt idx="103">
                  <c:v>509.1</c:v>
                </c:pt>
                <c:pt idx="104">
                  <c:v>528.1</c:v>
                </c:pt>
                <c:pt idx="105">
                  <c:v>542.5</c:v>
                </c:pt>
                <c:pt idx="106">
                  <c:v>542.29999999999995</c:v>
                </c:pt>
                <c:pt idx="107">
                  <c:v>523.1</c:v>
                </c:pt>
                <c:pt idx="108">
                  <c:v>480.1</c:v>
                </c:pt>
                <c:pt idx="109">
                  <c:v>535.20000000000005</c:v>
                </c:pt>
                <c:pt idx="110">
                  <c:v>543.29999999999995</c:v>
                </c:pt>
                <c:pt idx="111">
                  <c:v>555.1</c:v>
                </c:pt>
                <c:pt idx="112">
                  <c:v>539.6</c:v>
                </c:pt>
                <c:pt idx="113">
                  <c:v>540.29999999999995</c:v>
                </c:pt>
                <c:pt idx="114">
                  <c:v>543.20000000000005</c:v>
                </c:pt>
                <c:pt idx="115">
                  <c:v>528.6</c:v>
                </c:pt>
                <c:pt idx="116">
                  <c:v>524.1</c:v>
                </c:pt>
                <c:pt idx="117">
                  <c:v>542.79999999999995</c:v>
                </c:pt>
                <c:pt idx="118">
                  <c:v>507.5</c:v>
                </c:pt>
                <c:pt idx="119">
                  <c:v>556.29999999999995</c:v>
                </c:pt>
                <c:pt idx="120">
                  <c:v>551.20000000000005</c:v>
                </c:pt>
                <c:pt idx="121">
                  <c:v>530.5</c:v>
                </c:pt>
                <c:pt idx="122">
                  <c:v>531.1</c:v>
                </c:pt>
                <c:pt idx="123">
                  <c:v>527.6</c:v>
                </c:pt>
                <c:pt idx="124">
                  <c:v>514.4</c:v>
                </c:pt>
                <c:pt idx="125">
                  <c:v>524.9</c:v>
                </c:pt>
                <c:pt idx="126">
                  <c:v>538.5</c:v>
                </c:pt>
                <c:pt idx="127">
                  <c:v>556.9</c:v>
                </c:pt>
                <c:pt idx="128">
                  <c:v>546.70000000000005</c:v>
                </c:pt>
                <c:pt idx="129">
                  <c:v>530.29999999999995</c:v>
                </c:pt>
                <c:pt idx="130">
                  <c:v>505.3</c:v>
                </c:pt>
                <c:pt idx="131">
                  <c:v>537.9</c:v>
                </c:pt>
                <c:pt idx="132">
                  <c:v>538</c:v>
                </c:pt>
                <c:pt idx="133">
                  <c:v>534.9</c:v>
                </c:pt>
                <c:pt idx="134">
                  <c:v>539.29999999999995</c:v>
                </c:pt>
                <c:pt idx="135">
                  <c:v>540.1</c:v>
                </c:pt>
                <c:pt idx="136">
                  <c:v>536.20000000000005</c:v>
                </c:pt>
                <c:pt idx="137">
                  <c:v>522.29999999999995</c:v>
                </c:pt>
                <c:pt idx="138">
                  <c:v>512.5</c:v>
                </c:pt>
                <c:pt idx="139">
                  <c:v>537.29999999999995</c:v>
                </c:pt>
                <c:pt idx="140">
                  <c:v>539.1</c:v>
                </c:pt>
                <c:pt idx="141">
                  <c:v>550.5</c:v>
                </c:pt>
                <c:pt idx="142">
                  <c:v>538.70000000000005</c:v>
                </c:pt>
                <c:pt idx="143">
                  <c:v>525.70000000000005</c:v>
                </c:pt>
                <c:pt idx="144">
                  <c:v>510.9</c:v>
                </c:pt>
                <c:pt idx="145">
                  <c:v>508.4</c:v>
                </c:pt>
                <c:pt idx="146">
                  <c:v>517.79999999999995</c:v>
                </c:pt>
                <c:pt idx="147">
                  <c:v>517.20000000000005</c:v>
                </c:pt>
                <c:pt idx="148">
                  <c:v>531.5</c:v>
                </c:pt>
                <c:pt idx="149">
                  <c:v>525.20000000000005</c:v>
                </c:pt>
                <c:pt idx="150">
                  <c:v>529.29999999999995</c:v>
                </c:pt>
                <c:pt idx="151">
                  <c:v>527.6</c:v>
                </c:pt>
                <c:pt idx="152">
                  <c:v>532.79999999999995</c:v>
                </c:pt>
                <c:pt idx="153">
                  <c:v>485.6</c:v>
                </c:pt>
                <c:pt idx="154">
                  <c:v>510.4</c:v>
                </c:pt>
                <c:pt idx="155">
                  <c:v>545.29999999999995</c:v>
                </c:pt>
                <c:pt idx="156">
                  <c:v>554.79999999999995</c:v>
                </c:pt>
                <c:pt idx="157">
                  <c:v>536</c:v>
                </c:pt>
                <c:pt idx="158">
                  <c:v>522.6</c:v>
                </c:pt>
                <c:pt idx="159">
                  <c:v>555.1</c:v>
                </c:pt>
                <c:pt idx="160">
                  <c:v>568.29999999999995</c:v>
                </c:pt>
                <c:pt idx="161">
                  <c:v>569.20000000000005</c:v>
                </c:pt>
                <c:pt idx="162">
                  <c:v>554.29999999999995</c:v>
                </c:pt>
                <c:pt idx="163">
                  <c:v>549.5</c:v>
                </c:pt>
                <c:pt idx="164">
                  <c:v>532.6</c:v>
                </c:pt>
                <c:pt idx="165">
                  <c:v>523.79999999999995</c:v>
                </c:pt>
                <c:pt idx="166">
                  <c:v>543.5</c:v>
                </c:pt>
                <c:pt idx="167">
                  <c:v>548.6</c:v>
                </c:pt>
                <c:pt idx="168">
                  <c:v>547.5</c:v>
                </c:pt>
                <c:pt idx="169">
                  <c:v>552.6</c:v>
                </c:pt>
                <c:pt idx="170">
                  <c:v>543.29999999999995</c:v>
                </c:pt>
                <c:pt idx="171">
                  <c:v>529.29999999999995</c:v>
                </c:pt>
                <c:pt idx="172">
                  <c:v>529.4</c:v>
                </c:pt>
                <c:pt idx="173">
                  <c:v>539.5</c:v>
                </c:pt>
                <c:pt idx="174">
                  <c:v>532.5</c:v>
                </c:pt>
                <c:pt idx="175">
                  <c:v>536.20000000000005</c:v>
                </c:pt>
                <c:pt idx="176">
                  <c:v>547.9</c:v>
                </c:pt>
                <c:pt idx="177">
                  <c:v>538.70000000000005</c:v>
                </c:pt>
                <c:pt idx="178">
                  <c:v>516.6</c:v>
                </c:pt>
                <c:pt idx="179">
                  <c:v>517.1</c:v>
                </c:pt>
                <c:pt idx="180">
                  <c:v>502.9</c:v>
                </c:pt>
                <c:pt idx="181">
                  <c:v>520.6</c:v>
                </c:pt>
                <c:pt idx="182">
                  <c:v>523.5</c:v>
                </c:pt>
                <c:pt idx="183">
                  <c:v>519.70000000000005</c:v>
                </c:pt>
                <c:pt idx="184">
                  <c:v>537.1</c:v>
                </c:pt>
                <c:pt idx="185">
                  <c:v>539.79999999999995</c:v>
                </c:pt>
                <c:pt idx="186">
                  <c:v>539.29999999999995</c:v>
                </c:pt>
                <c:pt idx="187">
                  <c:v>544.9</c:v>
                </c:pt>
                <c:pt idx="188">
                  <c:v>523.4</c:v>
                </c:pt>
                <c:pt idx="189">
                  <c:v>528</c:v>
                </c:pt>
                <c:pt idx="190">
                  <c:v>528.4</c:v>
                </c:pt>
                <c:pt idx="191">
                  <c:v>529.4</c:v>
                </c:pt>
                <c:pt idx="192">
                  <c:v>516.9</c:v>
                </c:pt>
                <c:pt idx="193">
                  <c:v>508.4</c:v>
                </c:pt>
                <c:pt idx="194">
                  <c:v>513.79999999999995</c:v>
                </c:pt>
                <c:pt idx="195">
                  <c:v>536.6</c:v>
                </c:pt>
                <c:pt idx="196">
                  <c:v>531.5</c:v>
                </c:pt>
                <c:pt idx="197">
                  <c:v>520.6</c:v>
                </c:pt>
                <c:pt idx="198">
                  <c:v>518.70000000000005</c:v>
                </c:pt>
                <c:pt idx="199">
                  <c:v>505.3</c:v>
                </c:pt>
                <c:pt idx="200">
                  <c:v>509.4</c:v>
                </c:pt>
                <c:pt idx="201">
                  <c:v>520.20000000000005</c:v>
                </c:pt>
                <c:pt idx="202">
                  <c:v>517.6</c:v>
                </c:pt>
                <c:pt idx="203">
                  <c:v>515.4</c:v>
                </c:pt>
                <c:pt idx="204">
                  <c:v>507.1</c:v>
                </c:pt>
                <c:pt idx="205">
                  <c:v>507.8</c:v>
                </c:pt>
                <c:pt idx="206">
                  <c:v>500.7</c:v>
                </c:pt>
                <c:pt idx="207">
                  <c:v>496.1</c:v>
                </c:pt>
                <c:pt idx="208">
                  <c:v>484.1</c:v>
                </c:pt>
                <c:pt idx="209">
                  <c:v>453.3</c:v>
                </c:pt>
                <c:pt idx="210">
                  <c:v>450</c:v>
                </c:pt>
                <c:pt idx="211">
                  <c:v>447.7</c:v>
                </c:pt>
                <c:pt idx="212">
                  <c:v>498</c:v>
                </c:pt>
                <c:pt idx="213">
                  <c:v>512.5</c:v>
                </c:pt>
                <c:pt idx="214">
                  <c:v>517.6</c:v>
                </c:pt>
                <c:pt idx="215">
                  <c:v>528.4</c:v>
                </c:pt>
                <c:pt idx="216">
                  <c:v>536.6</c:v>
                </c:pt>
                <c:pt idx="217">
                  <c:v>513.20000000000005</c:v>
                </c:pt>
                <c:pt idx="218">
                  <c:v>515.6</c:v>
                </c:pt>
                <c:pt idx="219">
                  <c:v>525.1</c:v>
                </c:pt>
                <c:pt idx="220">
                  <c:v>511.3</c:v>
                </c:pt>
                <c:pt idx="221">
                  <c:v>510</c:v>
                </c:pt>
                <c:pt idx="222">
                  <c:v>523.1</c:v>
                </c:pt>
                <c:pt idx="223">
                  <c:v>525.6</c:v>
                </c:pt>
                <c:pt idx="224">
                  <c:v>533.20000000000005</c:v>
                </c:pt>
                <c:pt idx="225">
                  <c:v>551.20000000000005</c:v>
                </c:pt>
                <c:pt idx="226">
                  <c:v>555.5</c:v>
                </c:pt>
                <c:pt idx="227">
                  <c:v>520.1</c:v>
                </c:pt>
                <c:pt idx="228">
                  <c:v>516.20000000000005</c:v>
                </c:pt>
                <c:pt idx="229">
                  <c:v>543.79999999999995</c:v>
                </c:pt>
                <c:pt idx="230">
                  <c:v>519.29999999999995</c:v>
                </c:pt>
                <c:pt idx="231">
                  <c:v>521.4</c:v>
                </c:pt>
                <c:pt idx="232">
                  <c:v>524.20000000000005</c:v>
                </c:pt>
                <c:pt idx="233">
                  <c:v>517.5</c:v>
                </c:pt>
                <c:pt idx="234">
                  <c:v>503</c:v>
                </c:pt>
                <c:pt idx="235">
                  <c:v>496.6</c:v>
                </c:pt>
                <c:pt idx="236">
                  <c:v>510.6</c:v>
                </c:pt>
                <c:pt idx="237">
                  <c:v>521.1</c:v>
                </c:pt>
                <c:pt idx="238">
                  <c:v>518.6</c:v>
                </c:pt>
                <c:pt idx="239">
                  <c:v>519.9</c:v>
                </c:pt>
                <c:pt idx="240">
                  <c:v>527.6</c:v>
                </c:pt>
                <c:pt idx="241">
                  <c:v>492.6</c:v>
                </c:pt>
                <c:pt idx="242">
                  <c:v>500</c:v>
                </c:pt>
                <c:pt idx="243">
                  <c:v>506.8</c:v>
                </c:pt>
                <c:pt idx="244">
                  <c:v>533.9</c:v>
                </c:pt>
                <c:pt idx="245">
                  <c:v>541.20000000000005</c:v>
                </c:pt>
                <c:pt idx="246">
                  <c:v>515.20000000000005</c:v>
                </c:pt>
                <c:pt idx="247">
                  <c:v>518.79999999999995</c:v>
                </c:pt>
                <c:pt idx="248">
                  <c:v>518</c:v>
                </c:pt>
                <c:pt idx="249">
                  <c:v>501.7</c:v>
                </c:pt>
                <c:pt idx="250">
                  <c:v>515.70000000000005</c:v>
                </c:pt>
                <c:pt idx="251">
                  <c:v>522.9</c:v>
                </c:pt>
                <c:pt idx="252">
                  <c:v>539.79999999999995</c:v>
                </c:pt>
                <c:pt idx="253">
                  <c:v>543.6</c:v>
                </c:pt>
                <c:pt idx="254">
                  <c:v>540.29999999999995</c:v>
                </c:pt>
                <c:pt idx="255">
                  <c:v>575.20000000000005</c:v>
                </c:pt>
                <c:pt idx="256">
                  <c:v>567.79999999999995</c:v>
                </c:pt>
                <c:pt idx="257">
                  <c:v>560.79999999999995</c:v>
                </c:pt>
                <c:pt idx="258">
                  <c:v>566</c:v>
                </c:pt>
                <c:pt idx="259">
                  <c:v>562.9</c:v>
                </c:pt>
                <c:pt idx="260">
                  <c:v>568.70000000000005</c:v>
                </c:pt>
                <c:pt idx="261">
                  <c:v>564.29999999999995</c:v>
                </c:pt>
                <c:pt idx="262">
                  <c:v>550.20000000000005</c:v>
                </c:pt>
                <c:pt idx="263">
                  <c:v>546.79999999999995</c:v>
                </c:pt>
                <c:pt idx="264">
                  <c:v>555.1</c:v>
                </c:pt>
                <c:pt idx="265">
                  <c:v>561.9</c:v>
                </c:pt>
                <c:pt idx="266">
                  <c:v>567</c:v>
                </c:pt>
                <c:pt idx="267">
                  <c:v>558.79999999999995</c:v>
                </c:pt>
                <c:pt idx="268">
                  <c:v>564.9</c:v>
                </c:pt>
                <c:pt idx="269">
                  <c:v>553.6</c:v>
                </c:pt>
                <c:pt idx="270">
                  <c:v>553</c:v>
                </c:pt>
                <c:pt idx="271">
                  <c:v>559.20000000000005</c:v>
                </c:pt>
                <c:pt idx="272">
                  <c:v>567.6</c:v>
                </c:pt>
                <c:pt idx="273">
                  <c:v>566.79999999999995</c:v>
                </c:pt>
                <c:pt idx="274">
                  <c:v>569.1</c:v>
                </c:pt>
                <c:pt idx="275">
                  <c:v>584.1</c:v>
                </c:pt>
                <c:pt idx="276">
                  <c:v>577.79999999999995</c:v>
                </c:pt>
                <c:pt idx="277">
                  <c:v>575.29999999999995</c:v>
                </c:pt>
                <c:pt idx="278">
                  <c:v>575.9</c:v>
                </c:pt>
                <c:pt idx="279">
                  <c:v>572.6</c:v>
                </c:pt>
                <c:pt idx="280">
                  <c:v>580</c:v>
                </c:pt>
                <c:pt idx="281">
                  <c:v>567.20000000000005</c:v>
                </c:pt>
                <c:pt idx="282">
                  <c:v>568.29999999999995</c:v>
                </c:pt>
                <c:pt idx="283">
                  <c:v>559.79999999999995</c:v>
                </c:pt>
                <c:pt idx="284">
                  <c:v>554.1</c:v>
                </c:pt>
                <c:pt idx="285">
                  <c:v>551</c:v>
                </c:pt>
                <c:pt idx="286">
                  <c:v>557.20000000000005</c:v>
                </c:pt>
                <c:pt idx="287">
                  <c:v>558.5</c:v>
                </c:pt>
                <c:pt idx="288">
                  <c:v>566.1</c:v>
                </c:pt>
                <c:pt idx="289">
                  <c:v>572.4</c:v>
                </c:pt>
                <c:pt idx="290">
                  <c:v>575.6</c:v>
                </c:pt>
                <c:pt idx="291">
                  <c:v>561.79999999999995</c:v>
                </c:pt>
                <c:pt idx="292">
                  <c:v>575.29999999999995</c:v>
                </c:pt>
                <c:pt idx="293">
                  <c:v>559.9</c:v>
                </c:pt>
                <c:pt idx="294">
                  <c:v>556.29999999999995</c:v>
                </c:pt>
                <c:pt idx="295">
                  <c:v>559</c:v>
                </c:pt>
                <c:pt idx="296">
                  <c:v>557.6</c:v>
                </c:pt>
                <c:pt idx="297">
                  <c:v>521.4</c:v>
                </c:pt>
                <c:pt idx="298">
                  <c:v>525.6</c:v>
                </c:pt>
                <c:pt idx="299">
                  <c:v>567.9</c:v>
                </c:pt>
                <c:pt idx="300">
                  <c:v>538.70000000000005</c:v>
                </c:pt>
                <c:pt idx="301">
                  <c:v>550.79999999999995</c:v>
                </c:pt>
                <c:pt idx="302">
                  <c:v>553.4</c:v>
                </c:pt>
                <c:pt idx="303">
                  <c:v>529</c:v>
                </c:pt>
                <c:pt idx="304">
                  <c:v>552.29999999999995</c:v>
                </c:pt>
                <c:pt idx="305">
                  <c:v>543.4</c:v>
                </c:pt>
                <c:pt idx="306">
                  <c:v>545.20000000000005</c:v>
                </c:pt>
                <c:pt idx="307">
                  <c:v>520.4</c:v>
                </c:pt>
                <c:pt idx="308">
                  <c:v>510.9</c:v>
                </c:pt>
                <c:pt idx="309">
                  <c:v>508</c:v>
                </c:pt>
                <c:pt idx="310">
                  <c:v>514.29999999999995</c:v>
                </c:pt>
                <c:pt idx="311">
                  <c:v>510.6</c:v>
                </c:pt>
                <c:pt idx="312">
                  <c:v>503.8</c:v>
                </c:pt>
                <c:pt idx="313">
                  <c:v>534.20000000000005</c:v>
                </c:pt>
                <c:pt idx="314">
                  <c:v>546.29999999999995</c:v>
                </c:pt>
                <c:pt idx="315">
                  <c:v>571.20000000000005</c:v>
                </c:pt>
                <c:pt idx="316">
                  <c:v>558.5</c:v>
                </c:pt>
                <c:pt idx="317">
                  <c:v>554.6</c:v>
                </c:pt>
                <c:pt idx="318">
                  <c:v>527.4</c:v>
                </c:pt>
                <c:pt idx="319">
                  <c:v>519.79999999999995</c:v>
                </c:pt>
                <c:pt idx="320">
                  <c:v>565.9</c:v>
                </c:pt>
                <c:pt idx="321">
                  <c:v>536.1</c:v>
                </c:pt>
                <c:pt idx="322">
                  <c:v>549.6</c:v>
                </c:pt>
                <c:pt idx="323">
                  <c:v>551.29999999999995</c:v>
                </c:pt>
                <c:pt idx="324">
                  <c:v>526.1</c:v>
                </c:pt>
                <c:pt idx="325">
                  <c:v>520.5</c:v>
                </c:pt>
                <c:pt idx="326">
                  <c:v>522.29999999999995</c:v>
                </c:pt>
                <c:pt idx="327">
                  <c:v>542</c:v>
                </c:pt>
                <c:pt idx="328">
                  <c:v>549.9</c:v>
                </c:pt>
                <c:pt idx="329">
                  <c:v>537.1</c:v>
                </c:pt>
                <c:pt idx="330">
                  <c:v>540</c:v>
                </c:pt>
                <c:pt idx="331">
                  <c:v>518.5</c:v>
                </c:pt>
                <c:pt idx="332">
                  <c:v>498.4</c:v>
                </c:pt>
                <c:pt idx="333">
                  <c:v>485.4</c:v>
                </c:pt>
                <c:pt idx="334">
                  <c:v>514.79999999999995</c:v>
                </c:pt>
                <c:pt idx="335">
                  <c:v>514.79999999999995</c:v>
                </c:pt>
                <c:pt idx="336">
                  <c:v>507.7</c:v>
                </c:pt>
                <c:pt idx="337">
                  <c:v>503.9</c:v>
                </c:pt>
                <c:pt idx="338">
                  <c:v>516</c:v>
                </c:pt>
                <c:pt idx="339">
                  <c:v>515.9</c:v>
                </c:pt>
                <c:pt idx="340">
                  <c:v>504.3</c:v>
                </c:pt>
                <c:pt idx="341">
                  <c:v>469.6</c:v>
                </c:pt>
                <c:pt idx="342">
                  <c:v>467.1</c:v>
                </c:pt>
                <c:pt idx="343">
                  <c:v>502.1</c:v>
                </c:pt>
                <c:pt idx="344">
                  <c:v>491.9</c:v>
                </c:pt>
                <c:pt idx="345">
                  <c:v>524.9</c:v>
                </c:pt>
                <c:pt idx="346">
                  <c:v>530.9</c:v>
                </c:pt>
                <c:pt idx="347">
                  <c:v>526.5</c:v>
                </c:pt>
                <c:pt idx="348">
                  <c:v>529.20000000000005</c:v>
                </c:pt>
                <c:pt idx="349">
                  <c:v>431.3</c:v>
                </c:pt>
                <c:pt idx="350">
                  <c:v>434.3</c:v>
                </c:pt>
                <c:pt idx="351">
                  <c:v>433.8</c:v>
                </c:pt>
                <c:pt idx="352">
                  <c:v>434.2</c:v>
                </c:pt>
                <c:pt idx="353">
                  <c:v>434.7</c:v>
                </c:pt>
                <c:pt idx="354">
                  <c:v>427.3</c:v>
                </c:pt>
                <c:pt idx="355">
                  <c:v>430.7</c:v>
                </c:pt>
                <c:pt idx="356">
                  <c:v>427.9</c:v>
                </c:pt>
                <c:pt idx="357">
                  <c:v>428.6</c:v>
                </c:pt>
                <c:pt idx="358">
                  <c:v>426.5</c:v>
                </c:pt>
                <c:pt idx="359">
                  <c:v>419.5</c:v>
                </c:pt>
                <c:pt idx="360">
                  <c:v>428.2</c:v>
                </c:pt>
                <c:pt idx="361">
                  <c:v>446.7</c:v>
                </c:pt>
                <c:pt idx="362">
                  <c:v>480.2</c:v>
                </c:pt>
                <c:pt idx="363">
                  <c:v>505.4</c:v>
                </c:pt>
                <c:pt idx="364">
                  <c:v>484.1</c:v>
                </c:pt>
                <c:pt idx="365">
                  <c:v>481.2</c:v>
                </c:pt>
                <c:pt idx="366">
                  <c:v>483.5</c:v>
                </c:pt>
                <c:pt idx="367">
                  <c:v>472.6</c:v>
                </c:pt>
                <c:pt idx="368">
                  <c:v>463.6</c:v>
                </c:pt>
                <c:pt idx="369">
                  <c:v>486.1</c:v>
                </c:pt>
                <c:pt idx="370">
                  <c:v>480.7</c:v>
                </c:pt>
                <c:pt idx="371">
                  <c:v>471.1</c:v>
                </c:pt>
                <c:pt idx="372">
                  <c:v>467.7</c:v>
                </c:pt>
                <c:pt idx="373">
                  <c:v>469.9</c:v>
                </c:pt>
                <c:pt idx="374">
                  <c:v>449.6</c:v>
                </c:pt>
                <c:pt idx="375">
                  <c:v>442.9</c:v>
                </c:pt>
                <c:pt idx="376">
                  <c:v>450.1</c:v>
                </c:pt>
                <c:pt idx="377">
                  <c:v>448.5</c:v>
                </c:pt>
                <c:pt idx="378">
                  <c:v>455.4</c:v>
                </c:pt>
                <c:pt idx="379">
                  <c:v>445.7</c:v>
                </c:pt>
                <c:pt idx="380">
                  <c:v>447.7</c:v>
                </c:pt>
                <c:pt idx="381">
                  <c:v>435.3</c:v>
                </c:pt>
                <c:pt idx="382">
                  <c:v>437.9</c:v>
                </c:pt>
                <c:pt idx="383">
                  <c:v>452.4</c:v>
                </c:pt>
                <c:pt idx="384">
                  <c:v>462.3</c:v>
                </c:pt>
                <c:pt idx="385">
                  <c:v>470.2</c:v>
                </c:pt>
                <c:pt idx="386">
                  <c:v>479.1</c:v>
                </c:pt>
                <c:pt idx="387">
                  <c:v>489.1</c:v>
                </c:pt>
                <c:pt idx="388">
                  <c:v>463.3</c:v>
                </c:pt>
                <c:pt idx="389">
                  <c:v>459.4</c:v>
                </c:pt>
                <c:pt idx="390">
                  <c:v>491.8</c:v>
                </c:pt>
                <c:pt idx="391">
                  <c:v>501.7</c:v>
                </c:pt>
                <c:pt idx="392">
                  <c:v>523.29999999999995</c:v>
                </c:pt>
                <c:pt idx="393">
                  <c:v>520</c:v>
                </c:pt>
                <c:pt idx="394">
                  <c:v>515.29999999999995</c:v>
                </c:pt>
                <c:pt idx="395">
                  <c:v>489.3</c:v>
                </c:pt>
                <c:pt idx="396">
                  <c:v>492.3</c:v>
                </c:pt>
                <c:pt idx="397">
                  <c:v>523.1</c:v>
                </c:pt>
                <c:pt idx="398">
                  <c:v>522.70000000000005</c:v>
                </c:pt>
                <c:pt idx="399">
                  <c:v>500.9</c:v>
                </c:pt>
                <c:pt idx="400">
                  <c:v>493.9</c:v>
                </c:pt>
                <c:pt idx="401">
                  <c:v>494.3</c:v>
                </c:pt>
                <c:pt idx="402">
                  <c:v>490.6</c:v>
                </c:pt>
                <c:pt idx="403">
                  <c:v>481.1</c:v>
                </c:pt>
                <c:pt idx="404">
                  <c:v>523.70000000000005</c:v>
                </c:pt>
                <c:pt idx="405">
                  <c:v>535.4</c:v>
                </c:pt>
                <c:pt idx="406">
                  <c:v>540.5</c:v>
                </c:pt>
                <c:pt idx="407">
                  <c:v>535.9</c:v>
                </c:pt>
                <c:pt idx="408">
                  <c:v>526.5</c:v>
                </c:pt>
                <c:pt idx="409">
                  <c:v>498.9</c:v>
                </c:pt>
                <c:pt idx="410">
                  <c:v>503.8</c:v>
                </c:pt>
                <c:pt idx="411">
                  <c:v>522.29999999999995</c:v>
                </c:pt>
                <c:pt idx="412">
                  <c:v>526</c:v>
                </c:pt>
                <c:pt idx="413">
                  <c:v>527.9</c:v>
                </c:pt>
                <c:pt idx="414">
                  <c:v>532.6</c:v>
                </c:pt>
                <c:pt idx="415">
                  <c:v>520.29999999999995</c:v>
                </c:pt>
                <c:pt idx="416">
                  <c:v>496</c:v>
                </c:pt>
                <c:pt idx="417">
                  <c:v>494.9</c:v>
                </c:pt>
                <c:pt idx="418">
                  <c:v>527.5</c:v>
                </c:pt>
                <c:pt idx="419">
                  <c:v>537.1</c:v>
                </c:pt>
                <c:pt idx="420">
                  <c:v>532.5</c:v>
                </c:pt>
                <c:pt idx="421">
                  <c:v>530.20000000000005</c:v>
                </c:pt>
                <c:pt idx="422">
                  <c:v>524.79999999999995</c:v>
                </c:pt>
                <c:pt idx="423">
                  <c:v>489.7</c:v>
                </c:pt>
                <c:pt idx="424">
                  <c:v>488.4</c:v>
                </c:pt>
                <c:pt idx="425">
                  <c:v>499.7</c:v>
                </c:pt>
                <c:pt idx="426">
                  <c:v>504</c:v>
                </c:pt>
                <c:pt idx="427">
                  <c:v>515.29999999999995</c:v>
                </c:pt>
                <c:pt idx="428">
                  <c:v>501.3</c:v>
                </c:pt>
                <c:pt idx="429">
                  <c:v>492.9</c:v>
                </c:pt>
                <c:pt idx="430">
                  <c:v>492.1</c:v>
                </c:pt>
                <c:pt idx="431">
                  <c:v>489.7</c:v>
                </c:pt>
                <c:pt idx="432">
                  <c:v>512.70000000000005</c:v>
                </c:pt>
                <c:pt idx="433">
                  <c:v>515.70000000000005</c:v>
                </c:pt>
                <c:pt idx="434">
                  <c:v>525.6</c:v>
                </c:pt>
                <c:pt idx="435">
                  <c:v>518</c:v>
                </c:pt>
                <c:pt idx="436">
                  <c:v>494.7</c:v>
                </c:pt>
                <c:pt idx="437">
                  <c:v>470.8</c:v>
                </c:pt>
                <c:pt idx="438">
                  <c:v>476.2</c:v>
                </c:pt>
                <c:pt idx="439">
                  <c:v>480.1</c:v>
                </c:pt>
                <c:pt idx="440">
                  <c:v>499.5</c:v>
                </c:pt>
                <c:pt idx="441">
                  <c:v>507.8</c:v>
                </c:pt>
                <c:pt idx="442">
                  <c:v>509.5</c:v>
                </c:pt>
                <c:pt idx="443">
                  <c:v>505.1</c:v>
                </c:pt>
                <c:pt idx="444">
                  <c:v>477.2</c:v>
                </c:pt>
                <c:pt idx="445">
                  <c:v>467.8</c:v>
                </c:pt>
                <c:pt idx="446">
                  <c:v>502.9</c:v>
                </c:pt>
                <c:pt idx="447">
                  <c:v>514.9</c:v>
                </c:pt>
                <c:pt idx="448">
                  <c:v>509.9</c:v>
                </c:pt>
                <c:pt idx="449">
                  <c:v>499.7</c:v>
                </c:pt>
                <c:pt idx="450">
                  <c:v>513.20000000000005</c:v>
                </c:pt>
                <c:pt idx="451">
                  <c:v>512.1</c:v>
                </c:pt>
                <c:pt idx="452">
                  <c:v>483.8</c:v>
                </c:pt>
                <c:pt idx="453">
                  <c:v>536.70000000000005</c:v>
                </c:pt>
                <c:pt idx="454">
                  <c:v>561.4</c:v>
                </c:pt>
                <c:pt idx="455">
                  <c:v>583.79999999999995</c:v>
                </c:pt>
                <c:pt idx="456">
                  <c:v>580.79999999999995</c:v>
                </c:pt>
                <c:pt idx="457">
                  <c:v>535.70000000000005</c:v>
                </c:pt>
                <c:pt idx="458">
                  <c:v>492.6</c:v>
                </c:pt>
                <c:pt idx="459">
                  <c:v>476.9</c:v>
                </c:pt>
                <c:pt idx="460">
                  <c:v>507.9</c:v>
                </c:pt>
                <c:pt idx="461">
                  <c:v>525.1</c:v>
                </c:pt>
                <c:pt idx="462">
                  <c:v>551.4</c:v>
                </c:pt>
                <c:pt idx="463">
                  <c:v>566</c:v>
                </c:pt>
                <c:pt idx="464">
                  <c:v>560.70000000000005</c:v>
                </c:pt>
                <c:pt idx="465">
                  <c:v>549.79999999999995</c:v>
                </c:pt>
                <c:pt idx="466">
                  <c:v>540.5</c:v>
                </c:pt>
                <c:pt idx="467">
                  <c:v>566.1</c:v>
                </c:pt>
                <c:pt idx="468">
                  <c:v>568.79999999999995</c:v>
                </c:pt>
                <c:pt idx="469">
                  <c:v>564.9</c:v>
                </c:pt>
                <c:pt idx="470">
                  <c:v>566</c:v>
                </c:pt>
                <c:pt idx="471">
                  <c:v>568.4</c:v>
                </c:pt>
                <c:pt idx="472">
                  <c:v>556.1</c:v>
                </c:pt>
                <c:pt idx="473">
                  <c:v>562.70000000000005</c:v>
                </c:pt>
                <c:pt idx="474">
                  <c:v>574.70000000000005</c:v>
                </c:pt>
                <c:pt idx="475">
                  <c:v>580.9</c:v>
                </c:pt>
                <c:pt idx="476">
                  <c:v>584.20000000000005</c:v>
                </c:pt>
                <c:pt idx="477">
                  <c:v>580.4</c:v>
                </c:pt>
                <c:pt idx="478">
                  <c:v>581.70000000000005</c:v>
                </c:pt>
                <c:pt idx="479">
                  <c:v>574.70000000000005</c:v>
                </c:pt>
                <c:pt idx="480">
                  <c:v>575.1</c:v>
                </c:pt>
                <c:pt idx="481">
                  <c:v>586</c:v>
                </c:pt>
                <c:pt idx="482">
                  <c:v>586.79999999999995</c:v>
                </c:pt>
                <c:pt idx="483">
                  <c:v>585.70000000000005</c:v>
                </c:pt>
                <c:pt idx="484">
                  <c:v>581.6</c:v>
                </c:pt>
                <c:pt idx="485">
                  <c:v>578.4</c:v>
                </c:pt>
                <c:pt idx="486">
                  <c:v>555.9</c:v>
                </c:pt>
                <c:pt idx="487">
                  <c:v>539.5</c:v>
                </c:pt>
                <c:pt idx="488">
                  <c:v>570.5</c:v>
                </c:pt>
                <c:pt idx="489">
                  <c:v>588.20000000000005</c:v>
                </c:pt>
                <c:pt idx="490">
                  <c:v>594.70000000000005</c:v>
                </c:pt>
                <c:pt idx="491">
                  <c:v>596.4</c:v>
                </c:pt>
                <c:pt idx="492">
                  <c:v>582.5</c:v>
                </c:pt>
                <c:pt idx="493">
                  <c:v>561.70000000000005</c:v>
                </c:pt>
                <c:pt idx="494">
                  <c:v>551.4</c:v>
                </c:pt>
                <c:pt idx="495">
                  <c:v>585.20000000000005</c:v>
                </c:pt>
                <c:pt idx="496">
                  <c:v>583.6</c:v>
                </c:pt>
                <c:pt idx="497">
                  <c:v>576.9</c:v>
                </c:pt>
                <c:pt idx="498">
                  <c:v>575.29999999999995</c:v>
                </c:pt>
                <c:pt idx="499">
                  <c:v>568.20000000000005</c:v>
                </c:pt>
                <c:pt idx="500">
                  <c:v>546.20000000000005</c:v>
                </c:pt>
                <c:pt idx="501">
                  <c:v>535.29999999999995</c:v>
                </c:pt>
                <c:pt idx="502">
                  <c:v>549.4</c:v>
                </c:pt>
                <c:pt idx="503">
                  <c:v>538.6</c:v>
                </c:pt>
                <c:pt idx="504">
                  <c:v>529.20000000000005</c:v>
                </c:pt>
                <c:pt idx="505">
                  <c:v>527.6</c:v>
                </c:pt>
                <c:pt idx="506">
                  <c:v>521.9</c:v>
                </c:pt>
                <c:pt idx="507">
                  <c:v>507.3</c:v>
                </c:pt>
                <c:pt idx="508">
                  <c:v>503.7</c:v>
                </c:pt>
                <c:pt idx="509">
                  <c:v>509</c:v>
                </c:pt>
                <c:pt idx="510">
                  <c:v>523.5</c:v>
                </c:pt>
                <c:pt idx="511">
                  <c:v>506.9</c:v>
                </c:pt>
                <c:pt idx="512">
                  <c:v>515</c:v>
                </c:pt>
                <c:pt idx="513">
                  <c:v>528.1</c:v>
                </c:pt>
                <c:pt idx="514">
                  <c:v>529.6</c:v>
                </c:pt>
                <c:pt idx="515">
                  <c:v>527.20000000000005</c:v>
                </c:pt>
                <c:pt idx="516">
                  <c:v>523.9</c:v>
                </c:pt>
                <c:pt idx="517">
                  <c:v>514.79999999999995</c:v>
                </c:pt>
                <c:pt idx="518">
                  <c:v>341.2</c:v>
                </c:pt>
                <c:pt idx="519">
                  <c:v>329.2</c:v>
                </c:pt>
                <c:pt idx="520">
                  <c:v>340.4</c:v>
                </c:pt>
                <c:pt idx="521">
                  <c:v>325</c:v>
                </c:pt>
                <c:pt idx="522">
                  <c:v>329.8</c:v>
                </c:pt>
                <c:pt idx="523">
                  <c:v>341.8</c:v>
                </c:pt>
                <c:pt idx="524">
                  <c:v>375.8</c:v>
                </c:pt>
                <c:pt idx="525">
                  <c:v>387.5</c:v>
                </c:pt>
                <c:pt idx="526">
                  <c:v>397.6</c:v>
                </c:pt>
                <c:pt idx="527">
                  <c:v>394.8</c:v>
                </c:pt>
                <c:pt idx="528">
                  <c:v>360.6</c:v>
                </c:pt>
                <c:pt idx="529">
                  <c:v>352</c:v>
                </c:pt>
                <c:pt idx="530">
                  <c:v>414.1</c:v>
                </c:pt>
                <c:pt idx="531">
                  <c:v>413.4</c:v>
                </c:pt>
                <c:pt idx="532">
                  <c:v>388.3</c:v>
                </c:pt>
                <c:pt idx="533">
                  <c:v>395.1</c:v>
                </c:pt>
                <c:pt idx="534">
                  <c:v>376.6</c:v>
                </c:pt>
                <c:pt idx="535">
                  <c:v>342</c:v>
                </c:pt>
                <c:pt idx="536">
                  <c:v>335</c:v>
                </c:pt>
                <c:pt idx="537">
                  <c:v>383.1</c:v>
                </c:pt>
                <c:pt idx="538">
                  <c:v>409.6</c:v>
                </c:pt>
                <c:pt idx="539">
                  <c:v>414.3</c:v>
                </c:pt>
                <c:pt idx="540">
                  <c:v>404.1</c:v>
                </c:pt>
                <c:pt idx="541">
                  <c:v>392.7</c:v>
                </c:pt>
                <c:pt idx="542">
                  <c:v>350</c:v>
                </c:pt>
                <c:pt idx="543">
                  <c:v>341.6</c:v>
                </c:pt>
                <c:pt idx="544">
                  <c:v>343.4</c:v>
                </c:pt>
                <c:pt idx="545">
                  <c:v>313.5</c:v>
                </c:pt>
                <c:pt idx="546">
                  <c:v>319.2</c:v>
                </c:pt>
                <c:pt idx="547">
                  <c:v>298.8</c:v>
                </c:pt>
                <c:pt idx="548">
                  <c:v>293.89999999999998</c:v>
                </c:pt>
                <c:pt idx="549">
                  <c:v>376.4</c:v>
                </c:pt>
                <c:pt idx="550">
                  <c:v>369.7</c:v>
                </c:pt>
                <c:pt idx="551">
                  <c:v>393.5</c:v>
                </c:pt>
                <c:pt idx="552">
                  <c:v>413.5</c:v>
                </c:pt>
                <c:pt idx="553">
                  <c:v>436.8</c:v>
                </c:pt>
                <c:pt idx="554">
                  <c:v>413.8</c:v>
                </c:pt>
                <c:pt idx="555">
                  <c:v>431.5</c:v>
                </c:pt>
                <c:pt idx="556">
                  <c:v>411</c:v>
                </c:pt>
                <c:pt idx="557">
                  <c:v>394.3</c:v>
                </c:pt>
                <c:pt idx="558">
                  <c:v>397.3</c:v>
                </c:pt>
                <c:pt idx="559">
                  <c:v>401.8</c:v>
                </c:pt>
                <c:pt idx="560">
                  <c:v>411</c:v>
                </c:pt>
                <c:pt idx="561">
                  <c:v>426</c:v>
                </c:pt>
                <c:pt idx="562">
                  <c:v>411.6</c:v>
                </c:pt>
                <c:pt idx="563">
                  <c:v>400</c:v>
                </c:pt>
                <c:pt idx="564">
                  <c:v>390.8</c:v>
                </c:pt>
                <c:pt idx="565">
                  <c:v>403.3</c:v>
                </c:pt>
                <c:pt idx="566">
                  <c:v>415.4</c:v>
                </c:pt>
                <c:pt idx="567">
                  <c:v>426.5</c:v>
                </c:pt>
                <c:pt idx="568">
                  <c:v>423.4</c:v>
                </c:pt>
                <c:pt idx="569">
                  <c:v>427.9</c:v>
                </c:pt>
                <c:pt idx="570">
                  <c:v>423.4</c:v>
                </c:pt>
                <c:pt idx="571">
                  <c:v>415.5</c:v>
                </c:pt>
                <c:pt idx="572">
                  <c:v>418.8</c:v>
                </c:pt>
                <c:pt idx="573">
                  <c:v>419.4</c:v>
                </c:pt>
                <c:pt idx="574">
                  <c:v>403</c:v>
                </c:pt>
                <c:pt idx="575">
                  <c:v>427.4</c:v>
                </c:pt>
                <c:pt idx="576">
                  <c:v>428.2</c:v>
                </c:pt>
                <c:pt idx="577">
                  <c:v>424.3</c:v>
                </c:pt>
                <c:pt idx="578">
                  <c:v>413.8</c:v>
                </c:pt>
                <c:pt idx="579">
                  <c:v>415.4</c:v>
                </c:pt>
                <c:pt idx="580">
                  <c:v>430.3</c:v>
                </c:pt>
                <c:pt idx="581">
                  <c:v>436.9</c:v>
                </c:pt>
                <c:pt idx="582">
                  <c:v>432.5</c:v>
                </c:pt>
                <c:pt idx="583">
                  <c:v>429.6</c:v>
                </c:pt>
                <c:pt idx="584">
                  <c:v>427.4</c:v>
                </c:pt>
                <c:pt idx="585">
                  <c:v>427.5</c:v>
                </c:pt>
                <c:pt idx="586">
                  <c:v>437.2</c:v>
                </c:pt>
                <c:pt idx="587">
                  <c:v>437.5</c:v>
                </c:pt>
                <c:pt idx="588">
                  <c:v>436.4</c:v>
                </c:pt>
                <c:pt idx="589">
                  <c:v>423.8</c:v>
                </c:pt>
                <c:pt idx="590">
                  <c:v>423.4</c:v>
                </c:pt>
                <c:pt idx="591">
                  <c:v>424.7</c:v>
                </c:pt>
                <c:pt idx="592">
                  <c:v>428.2</c:v>
                </c:pt>
                <c:pt idx="593">
                  <c:v>432</c:v>
                </c:pt>
                <c:pt idx="594">
                  <c:v>431.1</c:v>
                </c:pt>
                <c:pt idx="595">
                  <c:v>424.5</c:v>
                </c:pt>
                <c:pt idx="596">
                  <c:v>426.8</c:v>
                </c:pt>
                <c:pt idx="597">
                  <c:v>415.2</c:v>
                </c:pt>
                <c:pt idx="598">
                  <c:v>420.1</c:v>
                </c:pt>
                <c:pt idx="599">
                  <c:v>423.9</c:v>
                </c:pt>
                <c:pt idx="600">
                  <c:v>431.9</c:v>
                </c:pt>
                <c:pt idx="601">
                  <c:v>430.4</c:v>
                </c:pt>
                <c:pt idx="602">
                  <c:v>428.6</c:v>
                </c:pt>
                <c:pt idx="603">
                  <c:v>425.9</c:v>
                </c:pt>
                <c:pt idx="604">
                  <c:v>418.6</c:v>
                </c:pt>
                <c:pt idx="605">
                  <c:v>393.8</c:v>
                </c:pt>
                <c:pt idx="606">
                  <c:v>422.6</c:v>
                </c:pt>
                <c:pt idx="607">
                  <c:v>409.3</c:v>
                </c:pt>
                <c:pt idx="608">
                  <c:v>424.9</c:v>
                </c:pt>
                <c:pt idx="609">
                  <c:v>452.3</c:v>
                </c:pt>
                <c:pt idx="610">
                  <c:v>463.7</c:v>
                </c:pt>
                <c:pt idx="611">
                  <c:v>438.4</c:v>
                </c:pt>
                <c:pt idx="612">
                  <c:v>446.6</c:v>
                </c:pt>
                <c:pt idx="613">
                  <c:v>435.7</c:v>
                </c:pt>
                <c:pt idx="614">
                  <c:v>442.9</c:v>
                </c:pt>
                <c:pt idx="615">
                  <c:v>449.6</c:v>
                </c:pt>
                <c:pt idx="616">
                  <c:v>433.3</c:v>
                </c:pt>
                <c:pt idx="617">
                  <c:v>433.4</c:v>
                </c:pt>
                <c:pt idx="618">
                  <c:v>415.9</c:v>
                </c:pt>
                <c:pt idx="619">
                  <c:v>413.6</c:v>
                </c:pt>
                <c:pt idx="620">
                  <c:v>411</c:v>
                </c:pt>
                <c:pt idx="621">
                  <c:v>413.6</c:v>
                </c:pt>
                <c:pt idx="622">
                  <c:v>441.3</c:v>
                </c:pt>
                <c:pt idx="623">
                  <c:v>442</c:v>
                </c:pt>
                <c:pt idx="624">
                  <c:v>443.2</c:v>
                </c:pt>
                <c:pt idx="625">
                  <c:v>420.5</c:v>
                </c:pt>
                <c:pt idx="626">
                  <c:v>427</c:v>
                </c:pt>
                <c:pt idx="627">
                  <c:v>423.4</c:v>
                </c:pt>
                <c:pt idx="628">
                  <c:v>422.3</c:v>
                </c:pt>
                <c:pt idx="629">
                  <c:v>431.5</c:v>
                </c:pt>
                <c:pt idx="630">
                  <c:v>430</c:v>
                </c:pt>
                <c:pt idx="631">
                  <c:v>412.9</c:v>
                </c:pt>
                <c:pt idx="632">
                  <c:v>402.9</c:v>
                </c:pt>
                <c:pt idx="633">
                  <c:v>410.6</c:v>
                </c:pt>
                <c:pt idx="634">
                  <c:v>415.4</c:v>
                </c:pt>
                <c:pt idx="635">
                  <c:v>411.9</c:v>
                </c:pt>
                <c:pt idx="636">
                  <c:v>418.4</c:v>
                </c:pt>
                <c:pt idx="637">
                  <c:v>429.9</c:v>
                </c:pt>
                <c:pt idx="638">
                  <c:v>429</c:v>
                </c:pt>
                <c:pt idx="639">
                  <c:v>409.3</c:v>
                </c:pt>
                <c:pt idx="640">
                  <c:v>412.1</c:v>
                </c:pt>
                <c:pt idx="641">
                  <c:v>414.2</c:v>
                </c:pt>
                <c:pt idx="642">
                  <c:v>423.2</c:v>
                </c:pt>
                <c:pt idx="643">
                  <c:v>427.9</c:v>
                </c:pt>
                <c:pt idx="644">
                  <c:v>428.8</c:v>
                </c:pt>
                <c:pt idx="645">
                  <c:v>431.9</c:v>
                </c:pt>
                <c:pt idx="646">
                  <c:v>432.4</c:v>
                </c:pt>
                <c:pt idx="647">
                  <c:v>424</c:v>
                </c:pt>
                <c:pt idx="648">
                  <c:v>425.6</c:v>
                </c:pt>
                <c:pt idx="649">
                  <c:v>436.8</c:v>
                </c:pt>
                <c:pt idx="650">
                  <c:v>436.1</c:v>
                </c:pt>
                <c:pt idx="651">
                  <c:v>437.8</c:v>
                </c:pt>
                <c:pt idx="652">
                  <c:v>426.6</c:v>
                </c:pt>
                <c:pt idx="653">
                  <c:v>425.1</c:v>
                </c:pt>
                <c:pt idx="654">
                  <c:v>404</c:v>
                </c:pt>
                <c:pt idx="655">
                  <c:v>401.9</c:v>
                </c:pt>
                <c:pt idx="656">
                  <c:v>413.3</c:v>
                </c:pt>
                <c:pt idx="657">
                  <c:v>434.4</c:v>
                </c:pt>
                <c:pt idx="658">
                  <c:v>419.1</c:v>
                </c:pt>
                <c:pt idx="659">
                  <c:v>408</c:v>
                </c:pt>
                <c:pt idx="660">
                  <c:v>413.4</c:v>
                </c:pt>
                <c:pt idx="661">
                  <c:v>350.6</c:v>
                </c:pt>
                <c:pt idx="662">
                  <c:v>338.6</c:v>
                </c:pt>
                <c:pt idx="663">
                  <c:v>356.1</c:v>
                </c:pt>
                <c:pt idx="664">
                  <c:v>348.6</c:v>
                </c:pt>
                <c:pt idx="665">
                  <c:v>367</c:v>
                </c:pt>
                <c:pt idx="666">
                  <c:v>356.2</c:v>
                </c:pt>
                <c:pt idx="667">
                  <c:v>337.9</c:v>
                </c:pt>
                <c:pt idx="668">
                  <c:v>337.2</c:v>
                </c:pt>
                <c:pt idx="669">
                  <c:v>326.3</c:v>
                </c:pt>
                <c:pt idx="670">
                  <c:v>419.7</c:v>
                </c:pt>
                <c:pt idx="671">
                  <c:v>424.4</c:v>
                </c:pt>
                <c:pt idx="672">
                  <c:v>433.3</c:v>
                </c:pt>
                <c:pt idx="673">
                  <c:v>440.8</c:v>
                </c:pt>
                <c:pt idx="674">
                  <c:v>438</c:v>
                </c:pt>
                <c:pt idx="675">
                  <c:v>431.9</c:v>
                </c:pt>
                <c:pt idx="676">
                  <c:v>428.8</c:v>
                </c:pt>
                <c:pt idx="677">
                  <c:v>433.5</c:v>
                </c:pt>
                <c:pt idx="678">
                  <c:v>438.8</c:v>
                </c:pt>
                <c:pt idx="679">
                  <c:v>435.8</c:v>
                </c:pt>
                <c:pt idx="680">
                  <c:v>434.9</c:v>
                </c:pt>
                <c:pt idx="681">
                  <c:v>432.9</c:v>
                </c:pt>
                <c:pt idx="682">
                  <c:v>433.1</c:v>
                </c:pt>
                <c:pt idx="683">
                  <c:v>431.9</c:v>
                </c:pt>
                <c:pt idx="684">
                  <c:v>431.7</c:v>
                </c:pt>
                <c:pt idx="685">
                  <c:v>427.9</c:v>
                </c:pt>
                <c:pt idx="686">
                  <c:v>429.8</c:v>
                </c:pt>
                <c:pt idx="687">
                  <c:v>427.1</c:v>
                </c:pt>
                <c:pt idx="688">
                  <c:v>428.2</c:v>
                </c:pt>
                <c:pt idx="689">
                  <c:v>422</c:v>
                </c:pt>
                <c:pt idx="690">
                  <c:v>429.6</c:v>
                </c:pt>
                <c:pt idx="691">
                  <c:v>441.3</c:v>
                </c:pt>
                <c:pt idx="692">
                  <c:v>442.7</c:v>
                </c:pt>
                <c:pt idx="693">
                  <c:v>437.1</c:v>
                </c:pt>
                <c:pt idx="694">
                  <c:v>437.2</c:v>
                </c:pt>
                <c:pt idx="695">
                  <c:v>436.8</c:v>
                </c:pt>
                <c:pt idx="696">
                  <c:v>437.9</c:v>
                </c:pt>
                <c:pt idx="697">
                  <c:v>438.2</c:v>
                </c:pt>
                <c:pt idx="698">
                  <c:v>455.1</c:v>
                </c:pt>
                <c:pt idx="699">
                  <c:v>453.2</c:v>
                </c:pt>
                <c:pt idx="700">
                  <c:v>416.4</c:v>
                </c:pt>
                <c:pt idx="701">
                  <c:v>436.5</c:v>
                </c:pt>
                <c:pt idx="702">
                  <c:v>436.7</c:v>
                </c:pt>
                <c:pt idx="703">
                  <c:v>412.5</c:v>
                </c:pt>
                <c:pt idx="704">
                  <c:v>413.4</c:v>
                </c:pt>
                <c:pt idx="705">
                  <c:v>356.4</c:v>
                </c:pt>
                <c:pt idx="706">
                  <c:v>353.4</c:v>
                </c:pt>
                <c:pt idx="707">
                  <c:v>354.7</c:v>
                </c:pt>
                <c:pt idx="708">
                  <c:v>352.7</c:v>
                </c:pt>
                <c:pt idx="709">
                  <c:v>362.2</c:v>
                </c:pt>
                <c:pt idx="710">
                  <c:v>428.8</c:v>
                </c:pt>
                <c:pt idx="711">
                  <c:v>431.5</c:v>
                </c:pt>
                <c:pt idx="712">
                  <c:v>428.1</c:v>
                </c:pt>
                <c:pt idx="713">
                  <c:v>279.5</c:v>
                </c:pt>
                <c:pt idx="714">
                  <c:v>281.89999999999998</c:v>
                </c:pt>
                <c:pt idx="715">
                  <c:v>281.5</c:v>
                </c:pt>
                <c:pt idx="716">
                  <c:v>279.8</c:v>
                </c:pt>
                <c:pt idx="717">
                  <c:v>261.8</c:v>
                </c:pt>
                <c:pt idx="718">
                  <c:v>260</c:v>
                </c:pt>
                <c:pt idx="719">
                  <c:v>260</c:v>
                </c:pt>
                <c:pt idx="720">
                  <c:v>261.7</c:v>
                </c:pt>
                <c:pt idx="721">
                  <c:v>261</c:v>
                </c:pt>
                <c:pt idx="722">
                  <c:v>262.8</c:v>
                </c:pt>
                <c:pt idx="723">
                  <c:v>273</c:v>
                </c:pt>
                <c:pt idx="724">
                  <c:v>257.7</c:v>
                </c:pt>
                <c:pt idx="725">
                  <c:v>413.2</c:v>
                </c:pt>
                <c:pt idx="726">
                  <c:v>428.3</c:v>
                </c:pt>
                <c:pt idx="727">
                  <c:v>417.6</c:v>
                </c:pt>
                <c:pt idx="728">
                  <c:v>421.6</c:v>
                </c:pt>
                <c:pt idx="729">
                  <c:v>412</c:v>
                </c:pt>
                <c:pt idx="730">
                  <c:v>403.3</c:v>
                </c:pt>
                <c:pt idx="731">
                  <c:v>372.9</c:v>
                </c:pt>
                <c:pt idx="732">
                  <c:v>399.8</c:v>
                </c:pt>
                <c:pt idx="733">
                  <c:v>408</c:v>
                </c:pt>
                <c:pt idx="734">
                  <c:v>415.6</c:v>
                </c:pt>
                <c:pt idx="735">
                  <c:v>413.7</c:v>
                </c:pt>
                <c:pt idx="736">
                  <c:v>415.4</c:v>
                </c:pt>
                <c:pt idx="737">
                  <c:v>418.9</c:v>
                </c:pt>
                <c:pt idx="738">
                  <c:v>415.7</c:v>
                </c:pt>
                <c:pt idx="739">
                  <c:v>410.2</c:v>
                </c:pt>
                <c:pt idx="740">
                  <c:v>413.1</c:v>
                </c:pt>
                <c:pt idx="741">
                  <c:v>396.3</c:v>
                </c:pt>
                <c:pt idx="742">
                  <c:v>396.6</c:v>
                </c:pt>
                <c:pt idx="743">
                  <c:v>397.4</c:v>
                </c:pt>
                <c:pt idx="744">
                  <c:v>407.3</c:v>
                </c:pt>
                <c:pt idx="745">
                  <c:v>411.8</c:v>
                </c:pt>
                <c:pt idx="746">
                  <c:v>412.9</c:v>
                </c:pt>
                <c:pt idx="747">
                  <c:v>410.4</c:v>
                </c:pt>
                <c:pt idx="748">
                  <c:v>411.2</c:v>
                </c:pt>
                <c:pt idx="749">
                  <c:v>415.8</c:v>
                </c:pt>
                <c:pt idx="750">
                  <c:v>406.2</c:v>
                </c:pt>
                <c:pt idx="751">
                  <c:v>405.6</c:v>
                </c:pt>
                <c:pt idx="752">
                  <c:v>404.6</c:v>
                </c:pt>
                <c:pt idx="753">
                  <c:v>405</c:v>
                </c:pt>
                <c:pt idx="754">
                  <c:v>408.9</c:v>
                </c:pt>
                <c:pt idx="755">
                  <c:v>407.3</c:v>
                </c:pt>
                <c:pt idx="756">
                  <c:v>406.2</c:v>
                </c:pt>
                <c:pt idx="757">
                  <c:v>407.6</c:v>
                </c:pt>
                <c:pt idx="758">
                  <c:v>408.7</c:v>
                </c:pt>
                <c:pt idx="759">
                  <c:v>410.9</c:v>
                </c:pt>
                <c:pt idx="760">
                  <c:v>408.5</c:v>
                </c:pt>
                <c:pt idx="761">
                  <c:v>410.2</c:v>
                </c:pt>
                <c:pt idx="762">
                  <c:v>383.7</c:v>
                </c:pt>
                <c:pt idx="763">
                  <c:v>384.1</c:v>
                </c:pt>
                <c:pt idx="764">
                  <c:v>388.6</c:v>
                </c:pt>
                <c:pt idx="765">
                  <c:v>387.4</c:v>
                </c:pt>
                <c:pt idx="766">
                  <c:v>385.5</c:v>
                </c:pt>
                <c:pt idx="767">
                  <c:v>387.2</c:v>
                </c:pt>
                <c:pt idx="768">
                  <c:v>389.2</c:v>
                </c:pt>
                <c:pt idx="769">
                  <c:v>387.1</c:v>
                </c:pt>
                <c:pt idx="770">
                  <c:v>397.6</c:v>
                </c:pt>
                <c:pt idx="771">
                  <c:v>391.9</c:v>
                </c:pt>
                <c:pt idx="772">
                  <c:v>392.4</c:v>
                </c:pt>
                <c:pt idx="773">
                  <c:v>389.6</c:v>
                </c:pt>
                <c:pt idx="774">
                  <c:v>388.7</c:v>
                </c:pt>
                <c:pt idx="775">
                  <c:v>390.6</c:v>
                </c:pt>
                <c:pt idx="776">
                  <c:v>395.4</c:v>
                </c:pt>
                <c:pt idx="777">
                  <c:v>399</c:v>
                </c:pt>
                <c:pt idx="778">
                  <c:v>399.8</c:v>
                </c:pt>
                <c:pt idx="779">
                  <c:v>400.4</c:v>
                </c:pt>
                <c:pt idx="780">
                  <c:v>395.4</c:v>
                </c:pt>
                <c:pt idx="781">
                  <c:v>395.3</c:v>
                </c:pt>
                <c:pt idx="782">
                  <c:v>398.5</c:v>
                </c:pt>
                <c:pt idx="783">
                  <c:v>408.2</c:v>
                </c:pt>
                <c:pt idx="784">
                  <c:v>411.3</c:v>
                </c:pt>
                <c:pt idx="785">
                  <c:v>414.7</c:v>
                </c:pt>
                <c:pt idx="786">
                  <c:v>412.5</c:v>
                </c:pt>
                <c:pt idx="787">
                  <c:v>407.6</c:v>
                </c:pt>
                <c:pt idx="788">
                  <c:v>406.8</c:v>
                </c:pt>
                <c:pt idx="789">
                  <c:v>429.2</c:v>
                </c:pt>
                <c:pt idx="790">
                  <c:v>441.2</c:v>
                </c:pt>
                <c:pt idx="791">
                  <c:v>368.9</c:v>
                </c:pt>
                <c:pt idx="792">
                  <c:v>485.8</c:v>
                </c:pt>
                <c:pt idx="793">
                  <c:v>477.8</c:v>
                </c:pt>
                <c:pt idx="794">
                  <c:v>466.8</c:v>
                </c:pt>
                <c:pt idx="795">
                  <c:v>462.9</c:v>
                </c:pt>
                <c:pt idx="796">
                  <c:v>472</c:v>
                </c:pt>
                <c:pt idx="797">
                  <c:v>475.7</c:v>
                </c:pt>
                <c:pt idx="798">
                  <c:v>476.8</c:v>
                </c:pt>
                <c:pt idx="799">
                  <c:v>476.8</c:v>
                </c:pt>
                <c:pt idx="800">
                  <c:v>477</c:v>
                </c:pt>
                <c:pt idx="801">
                  <c:v>474.6</c:v>
                </c:pt>
                <c:pt idx="802">
                  <c:v>474.2</c:v>
                </c:pt>
                <c:pt idx="803">
                  <c:v>480.6</c:v>
                </c:pt>
                <c:pt idx="804">
                  <c:v>448.1</c:v>
                </c:pt>
                <c:pt idx="805">
                  <c:v>443.8</c:v>
                </c:pt>
                <c:pt idx="806">
                  <c:v>467.2</c:v>
                </c:pt>
                <c:pt idx="807">
                  <c:v>479</c:v>
                </c:pt>
                <c:pt idx="808">
                  <c:v>477.5</c:v>
                </c:pt>
                <c:pt idx="809">
                  <c:v>477.4</c:v>
                </c:pt>
                <c:pt idx="810">
                  <c:v>480.8</c:v>
                </c:pt>
                <c:pt idx="811">
                  <c:v>484.3</c:v>
                </c:pt>
                <c:pt idx="812">
                  <c:v>486.7</c:v>
                </c:pt>
                <c:pt idx="813">
                  <c:v>485.5</c:v>
                </c:pt>
                <c:pt idx="814">
                  <c:v>485.4</c:v>
                </c:pt>
                <c:pt idx="815">
                  <c:v>491.8</c:v>
                </c:pt>
                <c:pt idx="816">
                  <c:v>478.5</c:v>
                </c:pt>
                <c:pt idx="817">
                  <c:v>484.9</c:v>
                </c:pt>
                <c:pt idx="818">
                  <c:v>475.6</c:v>
                </c:pt>
                <c:pt idx="819">
                  <c:v>474</c:v>
                </c:pt>
                <c:pt idx="820">
                  <c:v>476</c:v>
                </c:pt>
                <c:pt idx="821">
                  <c:v>482.6</c:v>
                </c:pt>
                <c:pt idx="822">
                  <c:v>481.8</c:v>
                </c:pt>
                <c:pt idx="823">
                  <c:v>480.8</c:v>
                </c:pt>
                <c:pt idx="824">
                  <c:v>482.4</c:v>
                </c:pt>
                <c:pt idx="825">
                  <c:v>473</c:v>
                </c:pt>
                <c:pt idx="826">
                  <c:v>486.3</c:v>
                </c:pt>
                <c:pt idx="827">
                  <c:v>472.1</c:v>
                </c:pt>
                <c:pt idx="828">
                  <c:v>480.4</c:v>
                </c:pt>
                <c:pt idx="829">
                  <c:v>466.8</c:v>
                </c:pt>
                <c:pt idx="830">
                  <c:v>479.9</c:v>
                </c:pt>
                <c:pt idx="831">
                  <c:v>487.9</c:v>
                </c:pt>
                <c:pt idx="832">
                  <c:v>490.4</c:v>
                </c:pt>
                <c:pt idx="833">
                  <c:v>497.4</c:v>
                </c:pt>
                <c:pt idx="834">
                  <c:v>496.6</c:v>
                </c:pt>
                <c:pt idx="835">
                  <c:v>492</c:v>
                </c:pt>
                <c:pt idx="836">
                  <c:v>487.8</c:v>
                </c:pt>
                <c:pt idx="837">
                  <c:v>488.3</c:v>
                </c:pt>
                <c:pt idx="838">
                  <c:v>492.4</c:v>
                </c:pt>
                <c:pt idx="839">
                  <c:v>492.6</c:v>
                </c:pt>
                <c:pt idx="840">
                  <c:v>483.7</c:v>
                </c:pt>
                <c:pt idx="841">
                  <c:v>490.9</c:v>
                </c:pt>
                <c:pt idx="842">
                  <c:v>490.1</c:v>
                </c:pt>
                <c:pt idx="843">
                  <c:v>494.2</c:v>
                </c:pt>
                <c:pt idx="844">
                  <c:v>488.3</c:v>
                </c:pt>
                <c:pt idx="845">
                  <c:v>495.2</c:v>
                </c:pt>
                <c:pt idx="846">
                  <c:v>498.2</c:v>
                </c:pt>
                <c:pt idx="847">
                  <c:v>497.5</c:v>
                </c:pt>
                <c:pt idx="848">
                  <c:v>498.2</c:v>
                </c:pt>
                <c:pt idx="849">
                  <c:v>501.1</c:v>
                </c:pt>
                <c:pt idx="850">
                  <c:v>493</c:v>
                </c:pt>
                <c:pt idx="851">
                  <c:v>496.2</c:v>
                </c:pt>
                <c:pt idx="852">
                  <c:v>505.5</c:v>
                </c:pt>
                <c:pt idx="853">
                  <c:v>503.2</c:v>
                </c:pt>
                <c:pt idx="854">
                  <c:v>498.2</c:v>
                </c:pt>
                <c:pt idx="855">
                  <c:v>492.9</c:v>
                </c:pt>
                <c:pt idx="856">
                  <c:v>492.4</c:v>
                </c:pt>
                <c:pt idx="857">
                  <c:v>490.3</c:v>
                </c:pt>
                <c:pt idx="858">
                  <c:v>488.8</c:v>
                </c:pt>
                <c:pt idx="859">
                  <c:v>495.5</c:v>
                </c:pt>
                <c:pt idx="860">
                  <c:v>503.3</c:v>
                </c:pt>
                <c:pt idx="861">
                  <c:v>502.3</c:v>
                </c:pt>
                <c:pt idx="862">
                  <c:v>501.3</c:v>
                </c:pt>
                <c:pt idx="863">
                  <c:v>502.8</c:v>
                </c:pt>
                <c:pt idx="864">
                  <c:v>498.9</c:v>
                </c:pt>
                <c:pt idx="865">
                  <c:v>503.9</c:v>
                </c:pt>
                <c:pt idx="866">
                  <c:v>506.8</c:v>
                </c:pt>
                <c:pt idx="867">
                  <c:v>506.1</c:v>
                </c:pt>
                <c:pt idx="868">
                  <c:v>508.6</c:v>
                </c:pt>
                <c:pt idx="869">
                  <c:v>509.8</c:v>
                </c:pt>
                <c:pt idx="870">
                  <c:v>503.1</c:v>
                </c:pt>
                <c:pt idx="871">
                  <c:v>496.7</c:v>
                </c:pt>
                <c:pt idx="872">
                  <c:v>497.9</c:v>
                </c:pt>
                <c:pt idx="873">
                  <c:v>502.2</c:v>
                </c:pt>
                <c:pt idx="874">
                  <c:v>498.1</c:v>
                </c:pt>
                <c:pt idx="875">
                  <c:v>498.2</c:v>
                </c:pt>
                <c:pt idx="876">
                  <c:v>497.7</c:v>
                </c:pt>
                <c:pt idx="877">
                  <c:v>496.8</c:v>
                </c:pt>
                <c:pt idx="878">
                  <c:v>496.7</c:v>
                </c:pt>
                <c:pt idx="879">
                  <c:v>494.9</c:v>
                </c:pt>
                <c:pt idx="880">
                  <c:v>498.7</c:v>
                </c:pt>
                <c:pt idx="881">
                  <c:v>499.9</c:v>
                </c:pt>
                <c:pt idx="882">
                  <c:v>498.7</c:v>
                </c:pt>
                <c:pt idx="883">
                  <c:v>493.8</c:v>
                </c:pt>
                <c:pt idx="884">
                  <c:v>432.2</c:v>
                </c:pt>
                <c:pt idx="885">
                  <c:v>430.5</c:v>
                </c:pt>
                <c:pt idx="886">
                  <c:v>436.5</c:v>
                </c:pt>
                <c:pt idx="887">
                  <c:v>434</c:v>
                </c:pt>
                <c:pt idx="888">
                  <c:v>437.2</c:v>
                </c:pt>
                <c:pt idx="889">
                  <c:v>435.1</c:v>
                </c:pt>
                <c:pt idx="890">
                  <c:v>438.7</c:v>
                </c:pt>
                <c:pt idx="891">
                  <c:v>440.2</c:v>
                </c:pt>
                <c:pt idx="892">
                  <c:v>439.1</c:v>
                </c:pt>
                <c:pt idx="893">
                  <c:v>435.7</c:v>
                </c:pt>
                <c:pt idx="894">
                  <c:v>440.4</c:v>
                </c:pt>
                <c:pt idx="895">
                  <c:v>442.8</c:v>
                </c:pt>
                <c:pt idx="896">
                  <c:v>445.8</c:v>
                </c:pt>
                <c:pt idx="897">
                  <c:v>450.4</c:v>
                </c:pt>
                <c:pt idx="898">
                  <c:v>459.5</c:v>
                </c:pt>
                <c:pt idx="899">
                  <c:v>458.5</c:v>
                </c:pt>
                <c:pt idx="900">
                  <c:v>459.3</c:v>
                </c:pt>
                <c:pt idx="901">
                  <c:v>458.3</c:v>
                </c:pt>
                <c:pt idx="902">
                  <c:v>455.8</c:v>
                </c:pt>
                <c:pt idx="903">
                  <c:v>450.7</c:v>
                </c:pt>
                <c:pt idx="904">
                  <c:v>451.2</c:v>
                </c:pt>
                <c:pt idx="905">
                  <c:v>446.7</c:v>
                </c:pt>
                <c:pt idx="906">
                  <c:v>439</c:v>
                </c:pt>
                <c:pt idx="907">
                  <c:v>439.1</c:v>
                </c:pt>
                <c:pt idx="908">
                  <c:v>446.4</c:v>
                </c:pt>
                <c:pt idx="909">
                  <c:v>451.8</c:v>
                </c:pt>
                <c:pt idx="910">
                  <c:v>455.3</c:v>
                </c:pt>
                <c:pt idx="911">
                  <c:v>453.4</c:v>
                </c:pt>
                <c:pt idx="912">
                  <c:v>452.7</c:v>
                </c:pt>
                <c:pt idx="913">
                  <c:v>448.5</c:v>
                </c:pt>
                <c:pt idx="914">
                  <c:v>447.9</c:v>
                </c:pt>
                <c:pt idx="915">
                  <c:v>449.3</c:v>
                </c:pt>
                <c:pt idx="916">
                  <c:v>449.9</c:v>
                </c:pt>
                <c:pt idx="917">
                  <c:v>452.8</c:v>
                </c:pt>
                <c:pt idx="918">
                  <c:v>457.9</c:v>
                </c:pt>
                <c:pt idx="919">
                  <c:v>458.7</c:v>
                </c:pt>
                <c:pt idx="920">
                  <c:v>459.7</c:v>
                </c:pt>
                <c:pt idx="921">
                  <c:v>453.9</c:v>
                </c:pt>
                <c:pt idx="922">
                  <c:v>451</c:v>
                </c:pt>
                <c:pt idx="923">
                  <c:v>451</c:v>
                </c:pt>
                <c:pt idx="924">
                  <c:v>452.7</c:v>
                </c:pt>
                <c:pt idx="925">
                  <c:v>462.7</c:v>
                </c:pt>
                <c:pt idx="926">
                  <c:v>461.3</c:v>
                </c:pt>
                <c:pt idx="927">
                  <c:v>454.6</c:v>
                </c:pt>
                <c:pt idx="928">
                  <c:v>450.8</c:v>
                </c:pt>
                <c:pt idx="929">
                  <c:v>453.8</c:v>
                </c:pt>
                <c:pt idx="930">
                  <c:v>448.8</c:v>
                </c:pt>
                <c:pt idx="931">
                  <c:v>429.7</c:v>
                </c:pt>
                <c:pt idx="932">
                  <c:v>406.8</c:v>
                </c:pt>
                <c:pt idx="933">
                  <c:v>396.3</c:v>
                </c:pt>
                <c:pt idx="934">
                  <c:v>363.6</c:v>
                </c:pt>
                <c:pt idx="935">
                  <c:v>371.1</c:v>
                </c:pt>
                <c:pt idx="936">
                  <c:v>368.1</c:v>
                </c:pt>
                <c:pt idx="937">
                  <c:v>365.6</c:v>
                </c:pt>
                <c:pt idx="938">
                  <c:v>368.1</c:v>
                </c:pt>
                <c:pt idx="939">
                  <c:v>371.9</c:v>
                </c:pt>
                <c:pt idx="940">
                  <c:v>385.9</c:v>
                </c:pt>
                <c:pt idx="941">
                  <c:v>416.9</c:v>
                </c:pt>
                <c:pt idx="942">
                  <c:v>417.5</c:v>
                </c:pt>
                <c:pt idx="943">
                  <c:v>427.6</c:v>
                </c:pt>
                <c:pt idx="944">
                  <c:v>440.1</c:v>
                </c:pt>
                <c:pt idx="945">
                  <c:v>443.7</c:v>
                </c:pt>
                <c:pt idx="946">
                  <c:v>446.8</c:v>
                </c:pt>
                <c:pt idx="947">
                  <c:v>449</c:v>
                </c:pt>
                <c:pt idx="948">
                  <c:v>448.5</c:v>
                </c:pt>
                <c:pt idx="949">
                  <c:v>448.4</c:v>
                </c:pt>
                <c:pt idx="950">
                  <c:v>452.6</c:v>
                </c:pt>
                <c:pt idx="951">
                  <c:v>452.5</c:v>
                </c:pt>
                <c:pt idx="952">
                  <c:v>424.1</c:v>
                </c:pt>
                <c:pt idx="953">
                  <c:v>419.5</c:v>
                </c:pt>
                <c:pt idx="954">
                  <c:v>438</c:v>
                </c:pt>
                <c:pt idx="955">
                  <c:v>443.9</c:v>
                </c:pt>
                <c:pt idx="956">
                  <c:v>442</c:v>
                </c:pt>
                <c:pt idx="957">
                  <c:v>447.7</c:v>
                </c:pt>
                <c:pt idx="958">
                  <c:v>451.5</c:v>
                </c:pt>
                <c:pt idx="959">
                  <c:v>454.3</c:v>
                </c:pt>
                <c:pt idx="960">
                  <c:v>456</c:v>
                </c:pt>
                <c:pt idx="961">
                  <c:v>454.2</c:v>
                </c:pt>
                <c:pt idx="962">
                  <c:v>451.9</c:v>
                </c:pt>
                <c:pt idx="963">
                  <c:v>451.9</c:v>
                </c:pt>
                <c:pt idx="964">
                  <c:v>459.4</c:v>
                </c:pt>
                <c:pt idx="965">
                  <c:v>460.4</c:v>
                </c:pt>
                <c:pt idx="966">
                  <c:v>459.4</c:v>
                </c:pt>
                <c:pt idx="967">
                  <c:v>461.8</c:v>
                </c:pt>
                <c:pt idx="968">
                  <c:v>463.7</c:v>
                </c:pt>
                <c:pt idx="969">
                  <c:v>438.7</c:v>
                </c:pt>
                <c:pt idx="970">
                  <c:v>451</c:v>
                </c:pt>
                <c:pt idx="971">
                  <c:v>452.4</c:v>
                </c:pt>
                <c:pt idx="972">
                  <c:v>453</c:v>
                </c:pt>
                <c:pt idx="973">
                  <c:v>448.8</c:v>
                </c:pt>
                <c:pt idx="974">
                  <c:v>448.1</c:v>
                </c:pt>
                <c:pt idx="975">
                  <c:v>447.5</c:v>
                </c:pt>
                <c:pt idx="976">
                  <c:v>445.3</c:v>
                </c:pt>
                <c:pt idx="977">
                  <c:v>444.1</c:v>
                </c:pt>
                <c:pt idx="978">
                  <c:v>447.3</c:v>
                </c:pt>
                <c:pt idx="979">
                  <c:v>449.5</c:v>
                </c:pt>
                <c:pt idx="980">
                  <c:v>453</c:v>
                </c:pt>
                <c:pt idx="981">
                  <c:v>453.5</c:v>
                </c:pt>
                <c:pt idx="982">
                  <c:v>414.1</c:v>
                </c:pt>
                <c:pt idx="983">
                  <c:v>418.2</c:v>
                </c:pt>
                <c:pt idx="984">
                  <c:v>414.9</c:v>
                </c:pt>
                <c:pt idx="985">
                  <c:v>411.7</c:v>
                </c:pt>
                <c:pt idx="986">
                  <c:v>428.7</c:v>
                </c:pt>
                <c:pt idx="987">
                  <c:v>449.1</c:v>
                </c:pt>
                <c:pt idx="988">
                  <c:v>451.6</c:v>
                </c:pt>
                <c:pt idx="989">
                  <c:v>453.2</c:v>
                </c:pt>
                <c:pt idx="990">
                  <c:v>446.8</c:v>
                </c:pt>
                <c:pt idx="991">
                  <c:v>447.9</c:v>
                </c:pt>
                <c:pt idx="992">
                  <c:v>454.6</c:v>
                </c:pt>
                <c:pt idx="993">
                  <c:v>449.1</c:v>
                </c:pt>
                <c:pt idx="994">
                  <c:v>442.1</c:v>
                </c:pt>
                <c:pt idx="995">
                  <c:v>443.1</c:v>
                </c:pt>
                <c:pt idx="996">
                  <c:v>450.1</c:v>
                </c:pt>
                <c:pt idx="997">
                  <c:v>453.9</c:v>
                </c:pt>
                <c:pt idx="998">
                  <c:v>454.2</c:v>
                </c:pt>
                <c:pt idx="999">
                  <c:v>456.1</c:v>
                </c:pt>
                <c:pt idx="1000">
                  <c:v>457.6</c:v>
                </c:pt>
                <c:pt idx="1001">
                  <c:v>454</c:v>
                </c:pt>
                <c:pt idx="1002">
                  <c:v>456.5</c:v>
                </c:pt>
                <c:pt idx="1003">
                  <c:v>449.2</c:v>
                </c:pt>
                <c:pt idx="1004">
                  <c:v>446</c:v>
                </c:pt>
                <c:pt idx="1005">
                  <c:v>447.3</c:v>
                </c:pt>
                <c:pt idx="1006">
                  <c:v>449.2</c:v>
                </c:pt>
                <c:pt idx="1007">
                  <c:v>447.8</c:v>
                </c:pt>
                <c:pt idx="1008">
                  <c:v>452.8</c:v>
                </c:pt>
                <c:pt idx="1009">
                  <c:v>459.4</c:v>
                </c:pt>
                <c:pt idx="1010">
                  <c:v>460.6</c:v>
                </c:pt>
                <c:pt idx="1011">
                  <c:v>459.3</c:v>
                </c:pt>
                <c:pt idx="1012">
                  <c:v>451.2</c:v>
                </c:pt>
                <c:pt idx="1013">
                  <c:v>456.8</c:v>
                </c:pt>
                <c:pt idx="1014">
                  <c:v>457.7</c:v>
                </c:pt>
                <c:pt idx="1015">
                  <c:v>459.7</c:v>
                </c:pt>
                <c:pt idx="1016">
                  <c:v>460.6</c:v>
                </c:pt>
                <c:pt idx="1017">
                  <c:v>451.4</c:v>
                </c:pt>
                <c:pt idx="1018">
                  <c:v>449.6</c:v>
                </c:pt>
                <c:pt idx="1019">
                  <c:v>449.3</c:v>
                </c:pt>
                <c:pt idx="1020">
                  <c:v>451.1</c:v>
                </c:pt>
                <c:pt idx="1021">
                  <c:v>452.7</c:v>
                </c:pt>
                <c:pt idx="1022">
                  <c:v>452.7</c:v>
                </c:pt>
                <c:pt idx="1023">
                  <c:v>454.6</c:v>
                </c:pt>
                <c:pt idx="1024">
                  <c:v>457.1</c:v>
                </c:pt>
                <c:pt idx="1025">
                  <c:v>458.3</c:v>
                </c:pt>
                <c:pt idx="1026">
                  <c:v>457.6</c:v>
                </c:pt>
                <c:pt idx="1027">
                  <c:v>459.5</c:v>
                </c:pt>
                <c:pt idx="1028">
                  <c:v>464</c:v>
                </c:pt>
                <c:pt idx="1029">
                  <c:v>464.6</c:v>
                </c:pt>
                <c:pt idx="1030">
                  <c:v>464.3</c:v>
                </c:pt>
                <c:pt idx="1031">
                  <c:v>462.9</c:v>
                </c:pt>
                <c:pt idx="1032">
                  <c:v>461.4</c:v>
                </c:pt>
                <c:pt idx="1033">
                  <c:v>461.4</c:v>
                </c:pt>
                <c:pt idx="1034">
                  <c:v>465.5</c:v>
                </c:pt>
                <c:pt idx="1035">
                  <c:v>459.5</c:v>
                </c:pt>
                <c:pt idx="1036">
                  <c:v>451.1</c:v>
                </c:pt>
                <c:pt idx="1037">
                  <c:v>452.9</c:v>
                </c:pt>
                <c:pt idx="1038">
                  <c:v>450.6</c:v>
                </c:pt>
                <c:pt idx="1039">
                  <c:v>442.9</c:v>
                </c:pt>
                <c:pt idx="1040">
                  <c:v>441.2</c:v>
                </c:pt>
                <c:pt idx="1041">
                  <c:v>435.7</c:v>
                </c:pt>
                <c:pt idx="1042">
                  <c:v>423.8</c:v>
                </c:pt>
                <c:pt idx="1043">
                  <c:v>427.7</c:v>
                </c:pt>
                <c:pt idx="1044">
                  <c:v>443.3</c:v>
                </c:pt>
                <c:pt idx="1045">
                  <c:v>450.5</c:v>
                </c:pt>
                <c:pt idx="1046">
                  <c:v>447.4</c:v>
                </c:pt>
                <c:pt idx="1047">
                  <c:v>448.1</c:v>
                </c:pt>
                <c:pt idx="1048">
                  <c:v>458.5</c:v>
                </c:pt>
                <c:pt idx="1049">
                  <c:v>457.4</c:v>
                </c:pt>
                <c:pt idx="1050">
                  <c:v>459.4</c:v>
                </c:pt>
                <c:pt idx="1051">
                  <c:v>462.4</c:v>
                </c:pt>
                <c:pt idx="1052">
                  <c:v>460.8</c:v>
                </c:pt>
                <c:pt idx="1053">
                  <c:v>456.4</c:v>
                </c:pt>
                <c:pt idx="1054">
                  <c:v>455</c:v>
                </c:pt>
                <c:pt idx="1055">
                  <c:v>447.3</c:v>
                </c:pt>
                <c:pt idx="1056">
                  <c:v>441.1</c:v>
                </c:pt>
                <c:pt idx="1057">
                  <c:v>409.4</c:v>
                </c:pt>
                <c:pt idx="1058">
                  <c:v>411.7</c:v>
                </c:pt>
                <c:pt idx="1059">
                  <c:v>412.7</c:v>
                </c:pt>
                <c:pt idx="1060">
                  <c:v>413.8</c:v>
                </c:pt>
                <c:pt idx="1061">
                  <c:v>415.9</c:v>
                </c:pt>
                <c:pt idx="1062">
                  <c:v>429.9</c:v>
                </c:pt>
                <c:pt idx="1063">
                  <c:v>453.7</c:v>
                </c:pt>
                <c:pt idx="1064">
                  <c:v>453.5</c:v>
                </c:pt>
                <c:pt idx="1065">
                  <c:v>442.5</c:v>
                </c:pt>
                <c:pt idx="1066">
                  <c:v>441</c:v>
                </c:pt>
                <c:pt idx="1067">
                  <c:v>440</c:v>
                </c:pt>
                <c:pt idx="1068">
                  <c:v>439.8</c:v>
                </c:pt>
                <c:pt idx="1069">
                  <c:v>435.7</c:v>
                </c:pt>
                <c:pt idx="1070">
                  <c:v>351.7</c:v>
                </c:pt>
                <c:pt idx="1071">
                  <c:v>350.4</c:v>
                </c:pt>
                <c:pt idx="1072">
                  <c:v>352</c:v>
                </c:pt>
                <c:pt idx="1073">
                  <c:v>400.4</c:v>
                </c:pt>
                <c:pt idx="1074">
                  <c:v>431.4</c:v>
                </c:pt>
                <c:pt idx="1075">
                  <c:v>426.1</c:v>
                </c:pt>
                <c:pt idx="1076">
                  <c:v>426.8</c:v>
                </c:pt>
                <c:pt idx="1077">
                  <c:v>279.2</c:v>
                </c:pt>
                <c:pt idx="1078">
                  <c:v>278.8</c:v>
                </c:pt>
                <c:pt idx="1079">
                  <c:v>277.3</c:v>
                </c:pt>
                <c:pt idx="1080">
                  <c:v>276.3</c:v>
                </c:pt>
                <c:pt idx="1081">
                  <c:v>280.60000000000002</c:v>
                </c:pt>
                <c:pt idx="1082">
                  <c:v>277.10000000000002</c:v>
                </c:pt>
                <c:pt idx="1083">
                  <c:v>280.89999999999998</c:v>
                </c:pt>
                <c:pt idx="1084">
                  <c:v>280</c:v>
                </c:pt>
                <c:pt idx="1085">
                  <c:v>280</c:v>
                </c:pt>
                <c:pt idx="1086">
                  <c:v>279.8</c:v>
                </c:pt>
                <c:pt idx="1087">
                  <c:v>426.3</c:v>
                </c:pt>
                <c:pt idx="1088">
                  <c:v>446.6</c:v>
                </c:pt>
                <c:pt idx="1089">
                  <c:v>444.8</c:v>
                </c:pt>
                <c:pt idx="1090">
                  <c:v>447.2</c:v>
                </c:pt>
                <c:pt idx="1091">
                  <c:v>443</c:v>
                </c:pt>
                <c:pt idx="1092">
                  <c:v>449.4</c:v>
                </c:pt>
                <c:pt idx="1093">
                  <c:v>449.2</c:v>
                </c:pt>
                <c:pt idx="1094">
                  <c:v>446.6</c:v>
                </c:pt>
                <c:pt idx="1095">
                  <c:v>412.1</c:v>
                </c:pt>
                <c:pt idx="1096">
                  <c:v>415.9</c:v>
                </c:pt>
                <c:pt idx="1097">
                  <c:v>402.5</c:v>
                </c:pt>
                <c:pt idx="1098">
                  <c:v>398.5</c:v>
                </c:pt>
                <c:pt idx="1099">
                  <c:v>395.7</c:v>
                </c:pt>
                <c:pt idx="1100">
                  <c:v>382.8</c:v>
                </c:pt>
                <c:pt idx="1101">
                  <c:v>389.3</c:v>
                </c:pt>
                <c:pt idx="1102">
                  <c:v>388.3</c:v>
                </c:pt>
                <c:pt idx="1103">
                  <c:v>385.5</c:v>
                </c:pt>
                <c:pt idx="1104">
                  <c:v>392.6</c:v>
                </c:pt>
                <c:pt idx="1105">
                  <c:v>391.6</c:v>
                </c:pt>
                <c:pt idx="1106">
                  <c:v>377.9</c:v>
                </c:pt>
                <c:pt idx="1107">
                  <c:v>375.1</c:v>
                </c:pt>
                <c:pt idx="1108">
                  <c:v>373.9</c:v>
                </c:pt>
                <c:pt idx="1109">
                  <c:v>374.6</c:v>
                </c:pt>
                <c:pt idx="1110">
                  <c:v>373.2</c:v>
                </c:pt>
                <c:pt idx="1111">
                  <c:v>374.6</c:v>
                </c:pt>
                <c:pt idx="1112">
                  <c:v>389.2</c:v>
                </c:pt>
                <c:pt idx="1113">
                  <c:v>390</c:v>
                </c:pt>
                <c:pt idx="1114">
                  <c:v>390.6</c:v>
                </c:pt>
                <c:pt idx="1115">
                  <c:v>391.9</c:v>
                </c:pt>
                <c:pt idx="1116">
                  <c:v>392.2</c:v>
                </c:pt>
                <c:pt idx="1117">
                  <c:v>391</c:v>
                </c:pt>
                <c:pt idx="1118">
                  <c:v>418.2</c:v>
                </c:pt>
                <c:pt idx="1119">
                  <c:v>430.8</c:v>
                </c:pt>
                <c:pt idx="1120">
                  <c:v>430.1</c:v>
                </c:pt>
                <c:pt idx="1121">
                  <c:v>428.6</c:v>
                </c:pt>
                <c:pt idx="1122">
                  <c:v>429.3</c:v>
                </c:pt>
                <c:pt idx="1123">
                  <c:v>428.6</c:v>
                </c:pt>
                <c:pt idx="1124">
                  <c:v>428.7</c:v>
                </c:pt>
                <c:pt idx="1125">
                  <c:v>430.3</c:v>
                </c:pt>
                <c:pt idx="1126">
                  <c:v>429.6</c:v>
                </c:pt>
                <c:pt idx="1127">
                  <c:v>380.7</c:v>
                </c:pt>
                <c:pt idx="1128">
                  <c:v>385.4</c:v>
                </c:pt>
                <c:pt idx="1129">
                  <c:v>381.8</c:v>
                </c:pt>
                <c:pt idx="1130">
                  <c:v>381.6</c:v>
                </c:pt>
                <c:pt idx="1131">
                  <c:v>397.5</c:v>
                </c:pt>
                <c:pt idx="1132">
                  <c:v>361.7</c:v>
                </c:pt>
                <c:pt idx="1133">
                  <c:v>386.9</c:v>
                </c:pt>
                <c:pt idx="1134">
                  <c:v>387</c:v>
                </c:pt>
                <c:pt idx="1135">
                  <c:v>384.5</c:v>
                </c:pt>
                <c:pt idx="1136">
                  <c:v>395</c:v>
                </c:pt>
                <c:pt idx="1137">
                  <c:v>390.8</c:v>
                </c:pt>
                <c:pt idx="1138">
                  <c:v>383.3</c:v>
                </c:pt>
                <c:pt idx="1139">
                  <c:v>385.4</c:v>
                </c:pt>
                <c:pt idx="1140">
                  <c:v>405.1</c:v>
                </c:pt>
                <c:pt idx="1141">
                  <c:v>415.6</c:v>
                </c:pt>
                <c:pt idx="1142">
                  <c:v>417</c:v>
                </c:pt>
                <c:pt idx="1143">
                  <c:v>419.6</c:v>
                </c:pt>
                <c:pt idx="1144">
                  <c:v>416.3</c:v>
                </c:pt>
                <c:pt idx="1145">
                  <c:v>420.7</c:v>
                </c:pt>
                <c:pt idx="1146">
                  <c:v>415.1</c:v>
                </c:pt>
                <c:pt idx="1147">
                  <c:v>422</c:v>
                </c:pt>
                <c:pt idx="1148">
                  <c:v>424.4</c:v>
                </c:pt>
                <c:pt idx="1149">
                  <c:v>421.5</c:v>
                </c:pt>
                <c:pt idx="1150">
                  <c:v>420.7</c:v>
                </c:pt>
                <c:pt idx="1151">
                  <c:v>416.4</c:v>
                </c:pt>
                <c:pt idx="1152">
                  <c:v>416.3</c:v>
                </c:pt>
                <c:pt idx="1153">
                  <c:v>406.7</c:v>
                </c:pt>
                <c:pt idx="1154">
                  <c:v>359.7</c:v>
                </c:pt>
                <c:pt idx="1155">
                  <c:v>395</c:v>
                </c:pt>
                <c:pt idx="1156">
                  <c:v>386.7</c:v>
                </c:pt>
                <c:pt idx="1157">
                  <c:v>343.8</c:v>
                </c:pt>
                <c:pt idx="1158">
                  <c:v>339.9</c:v>
                </c:pt>
                <c:pt idx="1159">
                  <c:v>338</c:v>
                </c:pt>
                <c:pt idx="1160">
                  <c:v>353.8</c:v>
                </c:pt>
                <c:pt idx="1161">
                  <c:v>360</c:v>
                </c:pt>
                <c:pt idx="1162">
                  <c:v>380.7</c:v>
                </c:pt>
                <c:pt idx="1163">
                  <c:v>380.5</c:v>
                </c:pt>
                <c:pt idx="1164">
                  <c:v>386.1</c:v>
                </c:pt>
                <c:pt idx="1165">
                  <c:v>375.4</c:v>
                </c:pt>
                <c:pt idx="1166">
                  <c:v>371.7</c:v>
                </c:pt>
                <c:pt idx="1167">
                  <c:v>374.8</c:v>
                </c:pt>
                <c:pt idx="1168">
                  <c:v>379.8</c:v>
                </c:pt>
                <c:pt idx="1169">
                  <c:v>375.5</c:v>
                </c:pt>
                <c:pt idx="1170">
                  <c:v>364</c:v>
                </c:pt>
                <c:pt idx="1171">
                  <c:v>363.4</c:v>
                </c:pt>
                <c:pt idx="1172">
                  <c:v>360.4</c:v>
                </c:pt>
                <c:pt idx="1173">
                  <c:v>361.5</c:v>
                </c:pt>
                <c:pt idx="1174">
                  <c:v>364.2</c:v>
                </c:pt>
                <c:pt idx="1175">
                  <c:v>366.7</c:v>
                </c:pt>
                <c:pt idx="1176">
                  <c:v>359.1</c:v>
                </c:pt>
                <c:pt idx="1177">
                  <c:v>367.7</c:v>
                </c:pt>
                <c:pt idx="1178">
                  <c:v>359.6</c:v>
                </c:pt>
                <c:pt idx="1179">
                  <c:v>349.7</c:v>
                </c:pt>
                <c:pt idx="1180">
                  <c:v>356.1</c:v>
                </c:pt>
                <c:pt idx="1181">
                  <c:v>356.3</c:v>
                </c:pt>
                <c:pt idx="1182">
                  <c:v>372.4</c:v>
                </c:pt>
                <c:pt idx="1183">
                  <c:v>378.7</c:v>
                </c:pt>
                <c:pt idx="1184">
                  <c:v>378</c:v>
                </c:pt>
                <c:pt idx="1185">
                  <c:v>362.1</c:v>
                </c:pt>
                <c:pt idx="1186">
                  <c:v>346.6</c:v>
                </c:pt>
                <c:pt idx="1187">
                  <c:v>322.5</c:v>
                </c:pt>
                <c:pt idx="1188">
                  <c:v>280</c:v>
                </c:pt>
                <c:pt idx="1189">
                  <c:v>286.8</c:v>
                </c:pt>
                <c:pt idx="1190">
                  <c:v>313.5</c:v>
                </c:pt>
                <c:pt idx="1191">
                  <c:v>343.7</c:v>
                </c:pt>
                <c:pt idx="1192">
                  <c:v>341.8</c:v>
                </c:pt>
                <c:pt idx="1193">
                  <c:v>330.4</c:v>
                </c:pt>
                <c:pt idx="1194">
                  <c:v>327.3</c:v>
                </c:pt>
                <c:pt idx="1195">
                  <c:v>336.7</c:v>
                </c:pt>
                <c:pt idx="1196">
                  <c:v>364.5</c:v>
                </c:pt>
                <c:pt idx="1197">
                  <c:v>382.9</c:v>
                </c:pt>
                <c:pt idx="1198">
                  <c:v>378.8</c:v>
                </c:pt>
                <c:pt idx="1199">
                  <c:v>377.1</c:v>
                </c:pt>
                <c:pt idx="1200">
                  <c:v>380.9</c:v>
                </c:pt>
                <c:pt idx="1201">
                  <c:v>382.9</c:v>
                </c:pt>
                <c:pt idx="1202">
                  <c:v>391.9</c:v>
                </c:pt>
                <c:pt idx="1203">
                  <c:v>394.8</c:v>
                </c:pt>
                <c:pt idx="1204">
                  <c:v>397.1</c:v>
                </c:pt>
                <c:pt idx="1205">
                  <c:v>405.2</c:v>
                </c:pt>
                <c:pt idx="1206">
                  <c:v>397.9</c:v>
                </c:pt>
                <c:pt idx="1207">
                  <c:v>390.4</c:v>
                </c:pt>
                <c:pt idx="1208">
                  <c:v>389.4</c:v>
                </c:pt>
                <c:pt idx="1209">
                  <c:v>393.2</c:v>
                </c:pt>
                <c:pt idx="1210">
                  <c:v>394.7</c:v>
                </c:pt>
                <c:pt idx="1211">
                  <c:v>397.4</c:v>
                </c:pt>
                <c:pt idx="1212">
                  <c:v>400.9</c:v>
                </c:pt>
                <c:pt idx="1213">
                  <c:v>405.3</c:v>
                </c:pt>
                <c:pt idx="1214">
                  <c:v>396.6</c:v>
                </c:pt>
                <c:pt idx="1215">
                  <c:v>395.6</c:v>
                </c:pt>
                <c:pt idx="1216">
                  <c:v>403.8</c:v>
                </c:pt>
                <c:pt idx="1217">
                  <c:v>405.6</c:v>
                </c:pt>
                <c:pt idx="1218">
                  <c:v>396.7</c:v>
                </c:pt>
                <c:pt idx="1219">
                  <c:v>400.1</c:v>
                </c:pt>
                <c:pt idx="1220">
                  <c:v>400.5</c:v>
                </c:pt>
                <c:pt idx="1221">
                  <c:v>398.5</c:v>
                </c:pt>
                <c:pt idx="1222">
                  <c:v>399.2</c:v>
                </c:pt>
                <c:pt idx="1223">
                  <c:v>403</c:v>
                </c:pt>
                <c:pt idx="1224">
                  <c:v>406.3</c:v>
                </c:pt>
                <c:pt idx="1225">
                  <c:v>407.7</c:v>
                </c:pt>
                <c:pt idx="1226">
                  <c:v>406.3</c:v>
                </c:pt>
                <c:pt idx="1227">
                  <c:v>406.4</c:v>
                </c:pt>
                <c:pt idx="1228">
                  <c:v>399.9</c:v>
                </c:pt>
                <c:pt idx="1229">
                  <c:v>398.8</c:v>
                </c:pt>
                <c:pt idx="1230">
                  <c:v>401.5</c:v>
                </c:pt>
                <c:pt idx="1231">
                  <c:v>401.3</c:v>
                </c:pt>
                <c:pt idx="1232">
                  <c:v>403.5</c:v>
                </c:pt>
                <c:pt idx="1233">
                  <c:v>404.5</c:v>
                </c:pt>
                <c:pt idx="1234">
                  <c:v>408</c:v>
                </c:pt>
                <c:pt idx="1235">
                  <c:v>377.7</c:v>
                </c:pt>
                <c:pt idx="1236">
                  <c:v>377.3</c:v>
                </c:pt>
                <c:pt idx="1237">
                  <c:v>384.9</c:v>
                </c:pt>
                <c:pt idx="1238">
                  <c:v>379.8</c:v>
                </c:pt>
                <c:pt idx="1239">
                  <c:v>382.3</c:v>
                </c:pt>
                <c:pt idx="1240">
                  <c:v>360.9</c:v>
                </c:pt>
                <c:pt idx="1241">
                  <c:v>355.2</c:v>
                </c:pt>
                <c:pt idx="1242">
                  <c:v>356</c:v>
                </c:pt>
                <c:pt idx="1243">
                  <c:v>353.3</c:v>
                </c:pt>
                <c:pt idx="1244">
                  <c:v>353.7</c:v>
                </c:pt>
                <c:pt idx="1245">
                  <c:v>356.8</c:v>
                </c:pt>
                <c:pt idx="1246">
                  <c:v>363.3</c:v>
                </c:pt>
                <c:pt idx="1247">
                  <c:v>360</c:v>
                </c:pt>
                <c:pt idx="1248">
                  <c:v>343.2</c:v>
                </c:pt>
                <c:pt idx="1249">
                  <c:v>279</c:v>
                </c:pt>
                <c:pt idx="1250">
                  <c:v>263.39999999999998</c:v>
                </c:pt>
                <c:pt idx="1251">
                  <c:v>252.1</c:v>
                </c:pt>
                <c:pt idx="1252">
                  <c:v>245.3</c:v>
                </c:pt>
                <c:pt idx="1253">
                  <c:v>265.7</c:v>
                </c:pt>
                <c:pt idx="1254">
                  <c:v>246.3</c:v>
                </c:pt>
                <c:pt idx="1255">
                  <c:v>250.8</c:v>
                </c:pt>
                <c:pt idx="1256">
                  <c:v>243.6</c:v>
                </c:pt>
                <c:pt idx="1257">
                  <c:v>241.9</c:v>
                </c:pt>
                <c:pt idx="1258">
                  <c:v>259.7</c:v>
                </c:pt>
                <c:pt idx="1259">
                  <c:v>251.6</c:v>
                </c:pt>
                <c:pt idx="1260">
                  <c:v>267.89999999999998</c:v>
                </c:pt>
                <c:pt idx="1261">
                  <c:v>257.60000000000002</c:v>
                </c:pt>
                <c:pt idx="1262">
                  <c:v>256</c:v>
                </c:pt>
                <c:pt idx="1263">
                  <c:v>251.7</c:v>
                </c:pt>
                <c:pt idx="1264">
                  <c:v>251.2</c:v>
                </c:pt>
                <c:pt idx="1265">
                  <c:v>259.10000000000002</c:v>
                </c:pt>
                <c:pt idx="1266">
                  <c:v>250</c:v>
                </c:pt>
                <c:pt idx="1267">
                  <c:v>249.7</c:v>
                </c:pt>
                <c:pt idx="1268">
                  <c:v>250</c:v>
                </c:pt>
                <c:pt idx="1269">
                  <c:v>256.3</c:v>
                </c:pt>
                <c:pt idx="1270">
                  <c:v>248.5</c:v>
                </c:pt>
                <c:pt idx="1271">
                  <c:v>243.1</c:v>
                </c:pt>
                <c:pt idx="1272">
                  <c:v>267.2</c:v>
                </c:pt>
                <c:pt idx="1273">
                  <c:v>275.5</c:v>
                </c:pt>
                <c:pt idx="1274">
                  <c:v>294.5</c:v>
                </c:pt>
                <c:pt idx="1275">
                  <c:v>289.60000000000002</c:v>
                </c:pt>
                <c:pt idx="1276">
                  <c:v>276.60000000000002</c:v>
                </c:pt>
                <c:pt idx="1277">
                  <c:v>270.89999999999998</c:v>
                </c:pt>
                <c:pt idx="1278">
                  <c:v>268.39999999999998</c:v>
                </c:pt>
                <c:pt idx="1279">
                  <c:v>280.2</c:v>
                </c:pt>
                <c:pt idx="1280">
                  <c:v>342.4</c:v>
                </c:pt>
                <c:pt idx="1281">
                  <c:v>322.10000000000002</c:v>
                </c:pt>
                <c:pt idx="1282">
                  <c:v>310.2</c:v>
                </c:pt>
                <c:pt idx="1283">
                  <c:v>316.5</c:v>
                </c:pt>
                <c:pt idx="1284">
                  <c:v>322.10000000000002</c:v>
                </c:pt>
                <c:pt idx="1285">
                  <c:v>314.3</c:v>
                </c:pt>
                <c:pt idx="1286">
                  <c:v>321.10000000000002</c:v>
                </c:pt>
                <c:pt idx="1287">
                  <c:v>299.89999999999998</c:v>
                </c:pt>
                <c:pt idx="1288">
                  <c:v>302.39999999999998</c:v>
                </c:pt>
                <c:pt idx="1289">
                  <c:v>286.7</c:v>
                </c:pt>
                <c:pt idx="1290">
                  <c:v>271</c:v>
                </c:pt>
                <c:pt idx="1291">
                  <c:v>270.7</c:v>
                </c:pt>
                <c:pt idx="1292">
                  <c:v>272.10000000000002</c:v>
                </c:pt>
                <c:pt idx="1293">
                  <c:v>286.60000000000002</c:v>
                </c:pt>
                <c:pt idx="1294">
                  <c:v>307.60000000000002</c:v>
                </c:pt>
                <c:pt idx="1295">
                  <c:v>266.60000000000002</c:v>
                </c:pt>
                <c:pt idx="1296">
                  <c:v>261.39999999999998</c:v>
                </c:pt>
                <c:pt idx="1297">
                  <c:v>264.89999999999998</c:v>
                </c:pt>
                <c:pt idx="1298">
                  <c:v>266.10000000000002</c:v>
                </c:pt>
                <c:pt idx="1299">
                  <c:v>269</c:v>
                </c:pt>
                <c:pt idx="1300">
                  <c:v>269.60000000000002</c:v>
                </c:pt>
                <c:pt idx="1301">
                  <c:v>276</c:v>
                </c:pt>
                <c:pt idx="1302">
                  <c:v>297.60000000000002</c:v>
                </c:pt>
                <c:pt idx="1303">
                  <c:v>333.5</c:v>
                </c:pt>
                <c:pt idx="1304">
                  <c:v>371.8</c:v>
                </c:pt>
                <c:pt idx="1305">
                  <c:v>392.5</c:v>
                </c:pt>
                <c:pt idx="1306">
                  <c:v>382.3</c:v>
                </c:pt>
                <c:pt idx="1307">
                  <c:v>380.9</c:v>
                </c:pt>
                <c:pt idx="1308">
                  <c:v>390.3</c:v>
                </c:pt>
                <c:pt idx="1309">
                  <c:v>367.6</c:v>
                </c:pt>
                <c:pt idx="1310">
                  <c:v>366.3</c:v>
                </c:pt>
                <c:pt idx="1311">
                  <c:v>372.3</c:v>
                </c:pt>
                <c:pt idx="1312">
                  <c:v>373.8</c:v>
                </c:pt>
                <c:pt idx="1313">
                  <c:v>369.5</c:v>
                </c:pt>
                <c:pt idx="1314">
                  <c:v>372.6</c:v>
                </c:pt>
                <c:pt idx="1315">
                  <c:v>371.8</c:v>
                </c:pt>
                <c:pt idx="1316">
                  <c:v>373.1</c:v>
                </c:pt>
                <c:pt idx="1317">
                  <c:v>372.6</c:v>
                </c:pt>
                <c:pt idx="1318">
                  <c:v>375.3</c:v>
                </c:pt>
                <c:pt idx="1319">
                  <c:v>371.9</c:v>
                </c:pt>
                <c:pt idx="1320">
                  <c:v>369.1</c:v>
                </c:pt>
                <c:pt idx="1321">
                  <c:v>371.4</c:v>
                </c:pt>
                <c:pt idx="1322">
                  <c:v>340.5</c:v>
                </c:pt>
                <c:pt idx="1323">
                  <c:v>313.5</c:v>
                </c:pt>
                <c:pt idx="1324">
                  <c:v>301.2</c:v>
                </c:pt>
                <c:pt idx="1325">
                  <c:v>304.2</c:v>
                </c:pt>
                <c:pt idx="1326">
                  <c:v>318.5</c:v>
                </c:pt>
                <c:pt idx="1327">
                  <c:v>318.3</c:v>
                </c:pt>
                <c:pt idx="1328">
                  <c:v>328.8</c:v>
                </c:pt>
                <c:pt idx="1329">
                  <c:v>342</c:v>
                </c:pt>
                <c:pt idx="1330">
                  <c:v>338.6</c:v>
                </c:pt>
                <c:pt idx="1331">
                  <c:v>347.6</c:v>
                </c:pt>
                <c:pt idx="1332">
                  <c:v>353.4</c:v>
                </c:pt>
                <c:pt idx="1333">
                  <c:v>346.5</c:v>
                </c:pt>
                <c:pt idx="1334">
                  <c:v>353.8</c:v>
                </c:pt>
                <c:pt idx="1335">
                  <c:v>358</c:v>
                </c:pt>
                <c:pt idx="1336">
                  <c:v>364.9</c:v>
                </c:pt>
                <c:pt idx="1337">
                  <c:v>382.3</c:v>
                </c:pt>
                <c:pt idx="1338">
                  <c:v>382.4</c:v>
                </c:pt>
                <c:pt idx="1339">
                  <c:v>340.6</c:v>
                </c:pt>
                <c:pt idx="1340">
                  <c:v>348.6</c:v>
                </c:pt>
                <c:pt idx="1341">
                  <c:v>352.5</c:v>
                </c:pt>
                <c:pt idx="1342">
                  <c:v>356.2</c:v>
                </c:pt>
                <c:pt idx="1343">
                  <c:v>352.7</c:v>
                </c:pt>
                <c:pt idx="1344">
                  <c:v>346.6</c:v>
                </c:pt>
                <c:pt idx="1345">
                  <c:v>336.5</c:v>
                </c:pt>
                <c:pt idx="1346">
                  <c:v>315.3</c:v>
                </c:pt>
                <c:pt idx="1347">
                  <c:v>302.3</c:v>
                </c:pt>
                <c:pt idx="1348">
                  <c:v>303.3</c:v>
                </c:pt>
                <c:pt idx="1349">
                  <c:v>327</c:v>
                </c:pt>
                <c:pt idx="1350">
                  <c:v>304.8</c:v>
                </c:pt>
                <c:pt idx="1351">
                  <c:v>295.3</c:v>
                </c:pt>
                <c:pt idx="1352">
                  <c:v>306</c:v>
                </c:pt>
                <c:pt idx="1353">
                  <c:v>293.5</c:v>
                </c:pt>
                <c:pt idx="1354">
                  <c:v>277.8</c:v>
                </c:pt>
                <c:pt idx="1355">
                  <c:v>278.3</c:v>
                </c:pt>
                <c:pt idx="1356">
                  <c:v>280</c:v>
                </c:pt>
                <c:pt idx="1357">
                  <c:v>279.2</c:v>
                </c:pt>
                <c:pt idx="1358">
                  <c:v>281.7</c:v>
                </c:pt>
                <c:pt idx="1359">
                  <c:v>281.89999999999998</c:v>
                </c:pt>
                <c:pt idx="1360">
                  <c:v>278.60000000000002</c:v>
                </c:pt>
                <c:pt idx="1361">
                  <c:v>263.39999999999998</c:v>
                </c:pt>
                <c:pt idx="1362">
                  <c:v>265.8</c:v>
                </c:pt>
                <c:pt idx="1363">
                  <c:v>281.5</c:v>
                </c:pt>
                <c:pt idx="1364">
                  <c:v>278.89999999999998</c:v>
                </c:pt>
                <c:pt idx="1365">
                  <c:v>258.8</c:v>
                </c:pt>
                <c:pt idx="1366">
                  <c:v>258.10000000000002</c:v>
                </c:pt>
                <c:pt idx="1367">
                  <c:v>258.39999999999998</c:v>
                </c:pt>
                <c:pt idx="1368">
                  <c:v>262.5</c:v>
                </c:pt>
                <c:pt idx="1369">
                  <c:v>297</c:v>
                </c:pt>
                <c:pt idx="1370">
                  <c:v>325.5</c:v>
                </c:pt>
                <c:pt idx="1371">
                  <c:v>325.10000000000002</c:v>
                </c:pt>
                <c:pt idx="1372">
                  <c:v>329.8</c:v>
                </c:pt>
                <c:pt idx="1373">
                  <c:v>333.8</c:v>
                </c:pt>
                <c:pt idx="1374">
                  <c:v>333.6</c:v>
                </c:pt>
                <c:pt idx="1375">
                  <c:v>302.2</c:v>
                </c:pt>
                <c:pt idx="1376">
                  <c:v>312</c:v>
                </c:pt>
                <c:pt idx="1377">
                  <c:v>321.8</c:v>
                </c:pt>
                <c:pt idx="1378">
                  <c:v>300.8</c:v>
                </c:pt>
                <c:pt idx="1379">
                  <c:v>280.5</c:v>
                </c:pt>
                <c:pt idx="1380">
                  <c:v>267.8</c:v>
                </c:pt>
                <c:pt idx="1381">
                  <c:v>273.3</c:v>
                </c:pt>
                <c:pt idx="1382">
                  <c:v>277.10000000000002</c:v>
                </c:pt>
                <c:pt idx="1383">
                  <c:v>276.8</c:v>
                </c:pt>
                <c:pt idx="1384">
                  <c:v>264.8</c:v>
                </c:pt>
                <c:pt idx="1385">
                  <c:v>255.3</c:v>
                </c:pt>
                <c:pt idx="1386">
                  <c:v>259.2</c:v>
                </c:pt>
                <c:pt idx="1387">
                  <c:v>265.5</c:v>
                </c:pt>
                <c:pt idx="1388">
                  <c:v>261.3</c:v>
                </c:pt>
                <c:pt idx="1389">
                  <c:v>239.7</c:v>
                </c:pt>
                <c:pt idx="1390">
                  <c:v>238</c:v>
                </c:pt>
                <c:pt idx="1391">
                  <c:v>236.5</c:v>
                </c:pt>
                <c:pt idx="1392">
                  <c:v>238.2</c:v>
                </c:pt>
                <c:pt idx="1393">
                  <c:v>238.2</c:v>
                </c:pt>
                <c:pt idx="1394">
                  <c:v>239.5</c:v>
                </c:pt>
                <c:pt idx="1395">
                  <c:v>237.7</c:v>
                </c:pt>
                <c:pt idx="1396">
                  <c:v>237.3</c:v>
                </c:pt>
                <c:pt idx="1397">
                  <c:v>236.8</c:v>
                </c:pt>
                <c:pt idx="1398">
                  <c:v>238.8</c:v>
                </c:pt>
                <c:pt idx="1399">
                  <c:v>218.9</c:v>
                </c:pt>
                <c:pt idx="1400">
                  <c:v>232.6</c:v>
                </c:pt>
                <c:pt idx="1401">
                  <c:v>234</c:v>
                </c:pt>
                <c:pt idx="1402">
                  <c:v>228.7</c:v>
                </c:pt>
                <c:pt idx="1403">
                  <c:v>222.9</c:v>
                </c:pt>
                <c:pt idx="1404">
                  <c:v>225.9</c:v>
                </c:pt>
                <c:pt idx="1405">
                  <c:v>225.7</c:v>
                </c:pt>
                <c:pt idx="1406">
                  <c:v>218.2</c:v>
                </c:pt>
                <c:pt idx="1407">
                  <c:v>217.1</c:v>
                </c:pt>
                <c:pt idx="1408">
                  <c:v>214.6</c:v>
                </c:pt>
                <c:pt idx="1409">
                  <c:v>214</c:v>
                </c:pt>
                <c:pt idx="1410">
                  <c:v>210.8</c:v>
                </c:pt>
                <c:pt idx="1411">
                  <c:v>212.3</c:v>
                </c:pt>
                <c:pt idx="1412">
                  <c:v>183.4</c:v>
                </c:pt>
                <c:pt idx="1413">
                  <c:v>170.1</c:v>
                </c:pt>
                <c:pt idx="1414">
                  <c:v>166.5</c:v>
                </c:pt>
                <c:pt idx="1415">
                  <c:v>147.4</c:v>
                </c:pt>
                <c:pt idx="1416">
                  <c:v>148.19999999999999</c:v>
                </c:pt>
                <c:pt idx="1417">
                  <c:v>146.1</c:v>
                </c:pt>
                <c:pt idx="1418">
                  <c:v>148.19999999999999</c:v>
                </c:pt>
                <c:pt idx="1419">
                  <c:v>151.6</c:v>
                </c:pt>
                <c:pt idx="1420">
                  <c:v>117.8</c:v>
                </c:pt>
                <c:pt idx="1421">
                  <c:v>115.9</c:v>
                </c:pt>
                <c:pt idx="1422">
                  <c:v>116</c:v>
                </c:pt>
                <c:pt idx="1423">
                  <c:v>116.4</c:v>
                </c:pt>
                <c:pt idx="1424">
                  <c:v>117.1</c:v>
                </c:pt>
                <c:pt idx="1425">
                  <c:v>116.3</c:v>
                </c:pt>
                <c:pt idx="1426">
                  <c:v>132.5</c:v>
                </c:pt>
                <c:pt idx="1427">
                  <c:v>151.1</c:v>
                </c:pt>
                <c:pt idx="1428">
                  <c:v>154.30000000000001</c:v>
                </c:pt>
                <c:pt idx="1429">
                  <c:v>159.5</c:v>
                </c:pt>
                <c:pt idx="1430">
                  <c:v>155.69999999999999</c:v>
                </c:pt>
                <c:pt idx="1431">
                  <c:v>151.4</c:v>
                </c:pt>
                <c:pt idx="1432">
                  <c:v>150.6</c:v>
                </c:pt>
                <c:pt idx="1433">
                  <c:v>152.69999999999999</c:v>
                </c:pt>
                <c:pt idx="1434">
                  <c:v>154.4</c:v>
                </c:pt>
                <c:pt idx="1435">
                  <c:v>156.80000000000001</c:v>
                </c:pt>
                <c:pt idx="1436">
                  <c:v>149.69999999999999</c:v>
                </c:pt>
                <c:pt idx="1437">
                  <c:v>149.30000000000001</c:v>
                </c:pt>
                <c:pt idx="1438">
                  <c:v>148.80000000000001</c:v>
                </c:pt>
                <c:pt idx="1439">
                  <c:v>147.4</c:v>
                </c:pt>
                <c:pt idx="1440">
                  <c:v>89.4</c:v>
                </c:pt>
                <c:pt idx="1441">
                  <c:v>86.6</c:v>
                </c:pt>
                <c:pt idx="1442">
                  <c:v>87.1</c:v>
                </c:pt>
                <c:pt idx="1443">
                  <c:v>87.9</c:v>
                </c:pt>
                <c:pt idx="1444">
                  <c:v>86.6</c:v>
                </c:pt>
                <c:pt idx="1445">
                  <c:v>86.5</c:v>
                </c:pt>
                <c:pt idx="1446">
                  <c:v>85</c:v>
                </c:pt>
                <c:pt idx="1447">
                  <c:v>87.5</c:v>
                </c:pt>
                <c:pt idx="1448">
                  <c:v>88.2</c:v>
                </c:pt>
                <c:pt idx="1449">
                  <c:v>87.5</c:v>
                </c:pt>
                <c:pt idx="1450">
                  <c:v>165</c:v>
                </c:pt>
                <c:pt idx="1451">
                  <c:v>166.9</c:v>
                </c:pt>
                <c:pt idx="1452">
                  <c:v>164.5</c:v>
                </c:pt>
                <c:pt idx="1453">
                  <c:v>163.69999999999999</c:v>
                </c:pt>
                <c:pt idx="1454">
                  <c:v>161.80000000000001</c:v>
                </c:pt>
                <c:pt idx="1455">
                  <c:v>159.30000000000001</c:v>
                </c:pt>
                <c:pt idx="1456">
                  <c:v>132.6</c:v>
                </c:pt>
                <c:pt idx="1457">
                  <c:v>129.9</c:v>
                </c:pt>
                <c:pt idx="1458">
                  <c:v>124.1</c:v>
                </c:pt>
                <c:pt idx="1459">
                  <c:v>120.7</c:v>
                </c:pt>
                <c:pt idx="1460">
                  <c:v>118.7</c:v>
                </c:pt>
                <c:pt idx="1461">
                  <c:v>116.2</c:v>
                </c:pt>
                <c:pt idx="1462">
                  <c:v>119.7</c:v>
                </c:pt>
                <c:pt idx="1463">
                  <c:v>119.4</c:v>
                </c:pt>
                <c:pt idx="1464">
                  <c:v>117</c:v>
                </c:pt>
                <c:pt idx="1465">
                  <c:v>122.2</c:v>
                </c:pt>
                <c:pt idx="1466">
                  <c:v>121.5</c:v>
                </c:pt>
                <c:pt idx="1467">
                  <c:v>119.8</c:v>
                </c:pt>
                <c:pt idx="1468">
                  <c:v>117</c:v>
                </c:pt>
                <c:pt idx="1469">
                  <c:v>118.6</c:v>
                </c:pt>
                <c:pt idx="1470">
                  <c:v>114.1</c:v>
                </c:pt>
                <c:pt idx="1471">
                  <c:v>126.4</c:v>
                </c:pt>
                <c:pt idx="1472">
                  <c:v>124.5</c:v>
                </c:pt>
                <c:pt idx="1473">
                  <c:v>123.5</c:v>
                </c:pt>
                <c:pt idx="1474">
                  <c:v>121.3</c:v>
                </c:pt>
                <c:pt idx="1475">
                  <c:v>121.1</c:v>
                </c:pt>
                <c:pt idx="1476">
                  <c:v>127.9</c:v>
                </c:pt>
                <c:pt idx="1477">
                  <c:v>119</c:v>
                </c:pt>
                <c:pt idx="1478">
                  <c:v>119.6</c:v>
                </c:pt>
                <c:pt idx="1479">
                  <c:v>124.6</c:v>
                </c:pt>
                <c:pt idx="1480">
                  <c:v>120.6</c:v>
                </c:pt>
                <c:pt idx="1481">
                  <c:v>120.3</c:v>
                </c:pt>
                <c:pt idx="1482">
                  <c:v>120.4</c:v>
                </c:pt>
                <c:pt idx="1483">
                  <c:v>125.3</c:v>
                </c:pt>
                <c:pt idx="1484">
                  <c:v>117.7</c:v>
                </c:pt>
                <c:pt idx="1485">
                  <c:v>124.3</c:v>
                </c:pt>
                <c:pt idx="1486">
                  <c:v>118</c:v>
                </c:pt>
                <c:pt idx="1487">
                  <c:v>120.5</c:v>
                </c:pt>
                <c:pt idx="1488">
                  <c:v>122.5</c:v>
                </c:pt>
                <c:pt idx="1489">
                  <c:v>119.3</c:v>
                </c:pt>
                <c:pt idx="1490">
                  <c:v>114.6</c:v>
                </c:pt>
                <c:pt idx="1491">
                  <c:v>80.599999999999994</c:v>
                </c:pt>
                <c:pt idx="1492">
                  <c:v>87.9</c:v>
                </c:pt>
                <c:pt idx="1493">
                  <c:v>86.7</c:v>
                </c:pt>
                <c:pt idx="1494">
                  <c:v>84.4</c:v>
                </c:pt>
                <c:pt idx="1495">
                  <c:v>82.2</c:v>
                </c:pt>
                <c:pt idx="1496">
                  <c:v>77.099999999999994</c:v>
                </c:pt>
                <c:pt idx="1497">
                  <c:v>83.5</c:v>
                </c:pt>
                <c:pt idx="1498">
                  <c:v>85.5</c:v>
                </c:pt>
                <c:pt idx="1499">
                  <c:v>84.1</c:v>
                </c:pt>
                <c:pt idx="1500">
                  <c:v>86.2</c:v>
                </c:pt>
                <c:pt idx="1501">
                  <c:v>84.8</c:v>
                </c:pt>
                <c:pt idx="1502">
                  <c:v>86.1</c:v>
                </c:pt>
                <c:pt idx="1503">
                  <c:v>85.9</c:v>
                </c:pt>
                <c:pt idx="1504">
                  <c:v>87.2</c:v>
                </c:pt>
                <c:pt idx="1505">
                  <c:v>89.5</c:v>
                </c:pt>
                <c:pt idx="1506">
                  <c:v>89.2</c:v>
                </c:pt>
                <c:pt idx="1507">
                  <c:v>87.7</c:v>
                </c:pt>
                <c:pt idx="1508">
                  <c:v>79.7</c:v>
                </c:pt>
                <c:pt idx="1509">
                  <c:v>79.8</c:v>
                </c:pt>
                <c:pt idx="1510">
                  <c:v>81.599999999999994</c:v>
                </c:pt>
                <c:pt idx="1511">
                  <c:v>85.5</c:v>
                </c:pt>
                <c:pt idx="1512">
                  <c:v>83.6</c:v>
                </c:pt>
                <c:pt idx="1513">
                  <c:v>84.1</c:v>
                </c:pt>
                <c:pt idx="1514">
                  <c:v>82.1</c:v>
                </c:pt>
                <c:pt idx="1515">
                  <c:v>78.8</c:v>
                </c:pt>
                <c:pt idx="1516">
                  <c:v>76.8</c:v>
                </c:pt>
                <c:pt idx="1517">
                  <c:v>78.599999999999994</c:v>
                </c:pt>
                <c:pt idx="1518">
                  <c:v>77.599999999999994</c:v>
                </c:pt>
                <c:pt idx="1519">
                  <c:v>77.400000000000006</c:v>
                </c:pt>
                <c:pt idx="1520">
                  <c:v>79.900000000000006</c:v>
                </c:pt>
                <c:pt idx="1521">
                  <c:v>76.8</c:v>
                </c:pt>
                <c:pt idx="1522">
                  <c:v>71.099999999999994</c:v>
                </c:pt>
                <c:pt idx="1523">
                  <c:v>70</c:v>
                </c:pt>
                <c:pt idx="1524">
                  <c:v>74.2</c:v>
                </c:pt>
                <c:pt idx="1525">
                  <c:v>77</c:v>
                </c:pt>
                <c:pt idx="1526">
                  <c:v>72.900000000000006</c:v>
                </c:pt>
                <c:pt idx="1527">
                  <c:v>74.2</c:v>
                </c:pt>
                <c:pt idx="1528">
                  <c:v>75.400000000000006</c:v>
                </c:pt>
                <c:pt idx="1529">
                  <c:v>73.3</c:v>
                </c:pt>
                <c:pt idx="1530">
                  <c:v>73.8</c:v>
                </c:pt>
                <c:pt idx="1531">
                  <c:v>76</c:v>
                </c:pt>
                <c:pt idx="1532">
                  <c:v>81.3</c:v>
                </c:pt>
                <c:pt idx="1533">
                  <c:v>80.900000000000006</c:v>
                </c:pt>
                <c:pt idx="1534">
                  <c:v>84.1</c:v>
                </c:pt>
                <c:pt idx="1535">
                  <c:v>81.5</c:v>
                </c:pt>
                <c:pt idx="1536">
                  <c:v>77.8</c:v>
                </c:pt>
                <c:pt idx="1537">
                  <c:v>76.900000000000006</c:v>
                </c:pt>
                <c:pt idx="1538">
                  <c:v>75.8</c:v>
                </c:pt>
                <c:pt idx="1539">
                  <c:v>79.7</c:v>
                </c:pt>
                <c:pt idx="1540">
                  <c:v>78.7</c:v>
                </c:pt>
                <c:pt idx="1541">
                  <c:v>79.099999999999994</c:v>
                </c:pt>
                <c:pt idx="1542">
                  <c:v>79</c:v>
                </c:pt>
                <c:pt idx="1543">
                  <c:v>74.099999999999994</c:v>
                </c:pt>
                <c:pt idx="1544">
                  <c:v>69.400000000000006</c:v>
                </c:pt>
                <c:pt idx="1545">
                  <c:v>64.900000000000006</c:v>
                </c:pt>
                <c:pt idx="1546">
                  <c:v>64.599999999999994</c:v>
                </c:pt>
                <c:pt idx="1547">
                  <c:v>60.2</c:v>
                </c:pt>
                <c:pt idx="1548">
                  <c:v>60.3</c:v>
                </c:pt>
                <c:pt idx="1549">
                  <c:v>63.5</c:v>
                </c:pt>
                <c:pt idx="1550">
                  <c:v>60.4</c:v>
                </c:pt>
                <c:pt idx="1551">
                  <c:v>60.7</c:v>
                </c:pt>
                <c:pt idx="1552">
                  <c:v>61.1</c:v>
                </c:pt>
                <c:pt idx="1553">
                  <c:v>55.8</c:v>
                </c:pt>
                <c:pt idx="1554">
                  <c:v>55.5</c:v>
                </c:pt>
                <c:pt idx="1555">
                  <c:v>57.2</c:v>
                </c:pt>
                <c:pt idx="1556">
                  <c:v>57.5</c:v>
                </c:pt>
                <c:pt idx="1557">
                  <c:v>59.8</c:v>
                </c:pt>
                <c:pt idx="1558">
                  <c:v>61.8</c:v>
                </c:pt>
                <c:pt idx="1559">
                  <c:v>66.5</c:v>
                </c:pt>
                <c:pt idx="1560">
                  <c:v>67.599999999999994</c:v>
                </c:pt>
                <c:pt idx="1561">
                  <c:v>71.599999999999994</c:v>
                </c:pt>
                <c:pt idx="1562">
                  <c:v>75.400000000000006</c:v>
                </c:pt>
                <c:pt idx="1563">
                  <c:v>75.5</c:v>
                </c:pt>
                <c:pt idx="1564">
                  <c:v>69.599999999999994</c:v>
                </c:pt>
                <c:pt idx="1565">
                  <c:v>69.2</c:v>
                </c:pt>
                <c:pt idx="1566">
                  <c:v>73.5</c:v>
                </c:pt>
                <c:pt idx="1567">
                  <c:v>82.5</c:v>
                </c:pt>
                <c:pt idx="1568">
                  <c:v>86.6</c:v>
                </c:pt>
                <c:pt idx="1569">
                  <c:v>86.6</c:v>
                </c:pt>
                <c:pt idx="1570">
                  <c:v>86</c:v>
                </c:pt>
                <c:pt idx="1571">
                  <c:v>89.7</c:v>
                </c:pt>
                <c:pt idx="1572">
                  <c:v>88.3</c:v>
                </c:pt>
                <c:pt idx="1573">
                  <c:v>89.6</c:v>
                </c:pt>
                <c:pt idx="1574">
                  <c:v>91.2</c:v>
                </c:pt>
                <c:pt idx="1575">
                  <c:v>83.7</c:v>
                </c:pt>
                <c:pt idx="1576">
                  <c:v>85.1</c:v>
                </c:pt>
                <c:pt idx="1577">
                  <c:v>87.7</c:v>
                </c:pt>
                <c:pt idx="1578">
                  <c:v>81</c:v>
                </c:pt>
                <c:pt idx="1579">
                  <c:v>80.400000000000006</c:v>
                </c:pt>
                <c:pt idx="1580">
                  <c:v>86.8</c:v>
                </c:pt>
                <c:pt idx="1581">
                  <c:v>82.1</c:v>
                </c:pt>
                <c:pt idx="1582">
                  <c:v>85.8</c:v>
                </c:pt>
                <c:pt idx="1583">
                  <c:v>100.3</c:v>
                </c:pt>
                <c:pt idx="1584">
                  <c:v>103.5</c:v>
                </c:pt>
                <c:pt idx="1585">
                  <c:v>99.9</c:v>
                </c:pt>
                <c:pt idx="1586">
                  <c:v>99.5</c:v>
                </c:pt>
                <c:pt idx="1587">
                  <c:v>102.4</c:v>
                </c:pt>
                <c:pt idx="1588">
                  <c:v>103</c:v>
                </c:pt>
                <c:pt idx="1589">
                  <c:v>102.9</c:v>
                </c:pt>
                <c:pt idx="1590">
                  <c:v>103.3</c:v>
                </c:pt>
                <c:pt idx="1591">
                  <c:v>106.5</c:v>
                </c:pt>
                <c:pt idx="1592">
                  <c:v>93.6</c:v>
                </c:pt>
                <c:pt idx="1593">
                  <c:v>95</c:v>
                </c:pt>
                <c:pt idx="1594">
                  <c:v>105.1</c:v>
                </c:pt>
                <c:pt idx="1595">
                  <c:v>107</c:v>
                </c:pt>
                <c:pt idx="1596">
                  <c:v>112.3</c:v>
                </c:pt>
                <c:pt idx="1597">
                  <c:v>113.5</c:v>
                </c:pt>
                <c:pt idx="1598">
                  <c:v>109.8</c:v>
                </c:pt>
                <c:pt idx="1599">
                  <c:v>89.9</c:v>
                </c:pt>
                <c:pt idx="1600">
                  <c:v>86.7</c:v>
                </c:pt>
                <c:pt idx="1601">
                  <c:v>90</c:v>
                </c:pt>
                <c:pt idx="1602">
                  <c:v>83.6</c:v>
                </c:pt>
                <c:pt idx="1603">
                  <c:v>83.9</c:v>
                </c:pt>
                <c:pt idx="1604">
                  <c:v>79.7</c:v>
                </c:pt>
                <c:pt idx="1605">
                  <c:v>79.900000000000006</c:v>
                </c:pt>
                <c:pt idx="1606">
                  <c:v>74.599999999999994</c:v>
                </c:pt>
                <c:pt idx="1607">
                  <c:v>72.3</c:v>
                </c:pt>
                <c:pt idx="1608">
                  <c:v>75.900000000000006</c:v>
                </c:pt>
                <c:pt idx="1609">
                  <c:v>78.400000000000006</c:v>
                </c:pt>
                <c:pt idx="1610">
                  <c:v>78.900000000000006</c:v>
                </c:pt>
                <c:pt idx="1611">
                  <c:v>76.400000000000006</c:v>
                </c:pt>
                <c:pt idx="1612">
                  <c:v>73</c:v>
                </c:pt>
                <c:pt idx="1613">
                  <c:v>75</c:v>
                </c:pt>
                <c:pt idx="1614">
                  <c:v>68.5</c:v>
                </c:pt>
                <c:pt idx="1615">
                  <c:v>68.3</c:v>
                </c:pt>
                <c:pt idx="1616">
                  <c:v>68.900000000000006</c:v>
                </c:pt>
                <c:pt idx="1617">
                  <c:v>65.5</c:v>
                </c:pt>
                <c:pt idx="1618">
                  <c:v>65.7</c:v>
                </c:pt>
                <c:pt idx="1619">
                  <c:v>66.400000000000006</c:v>
                </c:pt>
                <c:pt idx="1620">
                  <c:v>64</c:v>
                </c:pt>
                <c:pt idx="1621">
                  <c:v>64.5</c:v>
                </c:pt>
                <c:pt idx="1622">
                  <c:v>65.8</c:v>
                </c:pt>
                <c:pt idx="1623">
                  <c:v>66.8</c:v>
                </c:pt>
                <c:pt idx="1624">
                  <c:v>68.2</c:v>
                </c:pt>
                <c:pt idx="1625">
                  <c:v>67.599999999999994</c:v>
                </c:pt>
                <c:pt idx="1626">
                  <c:v>66.7</c:v>
                </c:pt>
                <c:pt idx="1627">
                  <c:v>64.599999999999994</c:v>
                </c:pt>
                <c:pt idx="1628">
                  <c:v>62.9</c:v>
                </c:pt>
                <c:pt idx="1629">
                  <c:v>64.8</c:v>
                </c:pt>
                <c:pt idx="1630">
                  <c:v>60.8</c:v>
                </c:pt>
                <c:pt idx="1631">
                  <c:v>59.8</c:v>
                </c:pt>
                <c:pt idx="1632">
                  <c:v>52.4</c:v>
                </c:pt>
                <c:pt idx="1633">
                  <c:v>56.1</c:v>
                </c:pt>
                <c:pt idx="1634">
                  <c:v>54.2</c:v>
                </c:pt>
                <c:pt idx="1635">
                  <c:v>53.7</c:v>
                </c:pt>
                <c:pt idx="1636">
                  <c:v>55.5</c:v>
                </c:pt>
                <c:pt idx="1637">
                  <c:v>56.9</c:v>
                </c:pt>
                <c:pt idx="1638">
                  <c:v>57.1</c:v>
                </c:pt>
                <c:pt idx="1639">
                  <c:v>58</c:v>
                </c:pt>
                <c:pt idx="1640">
                  <c:v>59</c:v>
                </c:pt>
                <c:pt idx="1641">
                  <c:v>55.5</c:v>
                </c:pt>
                <c:pt idx="1642">
                  <c:v>53.7</c:v>
                </c:pt>
                <c:pt idx="1643">
                  <c:v>54.6</c:v>
                </c:pt>
                <c:pt idx="1644">
                  <c:v>54.5</c:v>
                </c:pt>
                <c:pt idx="1645">
                  <c:v>63.4</c:v>
                </c:pt>
                <c:pt idx="1646">
                  <c:v>66.900000000000006</c:v>
                </c:pt>
                <c:pt idx="1647">
                  <c:v>68</c:v>
                </c:pt>
                <c:pt idx="1648">
                  <c:v>65.5</c:v>
                </c:pt>
                <c:pt idx="1649">
                  <c:v>67.400000000000006</c:v>
                </c:pt>
                <c:pt idx="1650">
                  <c:v>72.599999999999994</c:v>
                </c:pt>
                <c:pt idx="1651">
                  <c:v>75</c:v>
                </c:pt>
                <c:pt idx="1652">
                  <c:v>77.400000000000006</c:v>
                </c:pt>
                <c:pt idx="1653">
                  <c:v>76.599999999999994</c:v>
                </c:pt>
                <c:pt idx="1654">
                  <c:v>76.900000000000006</c:v>
                </c:pt>
                <c:pt idx="1655">
                  <c:v>74.3</c:v>
                </c:pt>
                <c:pt idx="1656">
                  <c:v>69.2</c:v>
                </c:pt>
                <c:pt idx="1657">
                  <c:v>71.099999999999994</c:v>
                </c:pt>
                <c:pt idx="1658">
                  <c:v>70.3</c:v>
                </c:pt>
                <c:pt idx="1659">
                  <c:v>76.7</c:v>
                </c:pt>
                <c:pt idx="1660">
                  <c:v>77.099999999999994</c:v>
                </c:pt>
                <c:pt idx="1661">
                  <c:v>73.5</c:v>
                </c:pt>
                <c:pt idx="1662">
                  <c:v>71.599999999999994</c:v>
                </c:pt>
                <c:pt idx="1663">
                  <c:v>67.8</c:v>
                </c:pt>
                <c:pt idx="1664">
                  <c:v>69.8</c:v>
                </c:pt>
                <c:pt idx="1665">
                  <c:v>72.3</c:v>
                </c:pt>
                <c:pt idx="1666">
                  <c:v>73.2</c:v>
                </c:pt>
                <c:pt idx="1667">
                  <c:v>71.7</c:v>
                </c:pt>
                <c:pt idx="1668">
                  <c:v>70.7</c:v>
                </c:pt>
                <c:pt idx="1669">
                  <c:v>68.099999999999994</c:v>
                </c:pt>
                <c:pt idx="1670">
                  <c:v>69.599999999999994</c:v>
                </c:pt>
                <c:pt idx="1671">
                  <c:v>73.400000000000006</c:v>
                </c:pt>
                <c:pt idx="1672">
                  <c:v>77.900000000000006</c:v>
                </c:pt>
                <c:pt idx="1673">
                  <c:v>83.3</c:v>
                </c:pt>
                <c:pt idx="1674">
                  <c:v>81.900000000000006</c:v>
                </c:pt>
                <c:pt idx="1675">
                  <c:v>81.3</c:v>
                </c:pt>
                <c:pt idx="1676">
                  <c:v>76.099999999999994</c:v>
                </c:pt>
                <c:pt idx="1677">
                  <c:v>76.8</c:v>
                </c:pt>
                <c:pt idx="1678">
                  <c:v>79.2</c:v>
                </c:pt>
                <c:pt idx="1679">
                  <c:v>79.2</c:v>
                </c:pt>
                <c:pt idx="1680">
                  <c:v>77.8</c:v>
                </c:pt>
                <c:pt idx="1681">
                  <c:v>76.900000000000006</c:v>
                </c:pt>
                <c:pt idx="1682">
                  <c:v>74.900000000000006</c:v>
                </c:pt>
                <c:pt idx="1683">
                  <c:v>68.8</c:v>
                </c:pt>
                <c:pt idx="1684">
                  <c:v>71</c:v>
                </c:pt>
                <c:pt idx="1685">
                  <c:v>73</c:v>
                </c:pt>
                <c:pt idx="1686">
                  <c:v>73.3</c:v>
                </c:pt>
                <c:pt idx="1687">
                  <c:v>79.400000000000006</c:v>
                </c:pt>
                <c:pt idx="1688">
                  <c:v>79.2</c:v>
                </c:pt>
                <c:pt idx="1689">
                  <c:v>77.8</c:v>
                </c:pt>
                <c:pt idx="1690">
                  <c:v>70.8</c:v>
                </c:pt>
                <c:pt idx="1691">
                  <c:v>71.8</c:v>
                </c:pt>
                <c:pt idx="1692">
                  <c:v>76.3</c:v>
                </c:pt>
                <c:pt idx="1693">
                  <c:v>70.8</c:v>
                </c:pt>
                <c:pt idx="1694">
                  <c:v>72.099999999999994</c:v>
                </c:pt>
                <c:pt idx="1695">
                  <c:v>73.900000000000006</c:v>
                </c:pt>
                <c:pt idx="1696">
                  <c:v>70.8</c:v>
                </c:pt>
                <c:pt idx="1697">
                  <c:v>62.4</c:v>
                </c:pt>
                <c:pt idx="1698">
                  <c:v>63.1</c:v>
                </c:pt>
                <c:pt idx="1699">
                  <c:v>70.5</c:v>
                </c:pt>
                <c:pt idx="1700">
                  <c:v>74.099999999999994</c:v>
                </c:pt>
                <c:pt idx="1701">
                  <c:v>75</c:v>
                </c:pt>
                <c:pt idx="1702">
                  <c:v>72.5</c:v>
                </c:pt>
                <c:pt idx="1703">
                  <c:v>68.900000000000006</c:v>
                </c:pt>
                <c:pt idx="1704">
                  <c:v>68.400000000000006</c:v>
                </c:pt>
                <c:pt idx="1705">
                  <c:v>69.3</c:v>
                </c:pt>
                <c:pt idx="1706">
                  <c:v>73.099999999999994</c:v>
                </c:pt>
                <c:pt idx="1707">
                  <c:v>81.400000000000006</c:v>
                </c:pt>
                <c:pt idx="1708">
                  <c:v>85.3</c:v>
                </c:pt>
                <c:pt idx="1709">
                  <c:v>88.8</c:v>
                </c:pt>
                <c:pt idx="1710">
                  <c:v>81.2</c:v>
                </c:pt>
                <c:pt idx="1711">
                  <c:v>77.599999999999994</c:v>
                </c:pt>
                <c:pt idx="1712">
                  <c:v>75.2</c:v>
                </c:pt>
                <c:pt idx="1713">
                  <c:v>73.5</c:v>
                </c:pt>
                <c:pt idx="1714">
                  <c:v>76.8</c:v>
                </c:pt>
                <c:pt idx="1715">
                  <c:v>84.5</c:v>
                </c:pt>
                <c:pt idx="1716">
                  <c:v>85.4</c:v>
                </c:pt>
                <c:pt idx="1717">
                  <c:v>80.900000000000006</c:v>
                </c:pt>
                <c:pt idx="1718">
                  <c:v>74.5</c:v>
                </c:pt>
                <c:pt idx="1719">
                  <c:v>75.400000000000006</c:v>
                </c:pt>
                <c:pt idx="1720">
                  <c:v>80.3</c:v>
                </c:pt>
                <c:pt idx="1721">
                  <c:v>87.2</c:v>
                </c:pt>
                <c:pt idx="1722">
                  <c:v>87.9</c:v>
                </c:pt>
                <c:pt idx="1723">
                  <c:v>86.8</c:v>
                </c:pt>
                <c:pt idx="1724">
                  <c:v>82.7</c:v>
                </c:pt>
                <c:pt idx="1725">
                  <c:v>71.900000000000006</c:v>
                </c:pt>
                <c:pt idx="1726">
                  <c:v>71.3</c:v>
                </c:pt>
                <c:pt idx="1727">
                  <c:v>74.8</c:v>
                </c:pt>
                <c:pt idx="1728">
                  <c:v>72</c:v>
                </c:pt>
                <c:pt idx="1729">
                  <c:v>72.8</c:v>
                </c:pt>
                <c:pt idx="1730">
                  <c:v>75.099999999999994</c:v>
                </c:pt>
                <c:pt idx="1731">
                  <c:v>74.400000000000006</c:v>
                </c:pt>
                <c:pt idx="1732">
                  <c:v>65.400000000000006</c:v>
                </c:pt>
                <c:pt idx="1733">
                  <c:v>64.5</c:v>
                </c:pt>
                <c:pt idx="1734">
                  <c:v>65.900000000000006</c:v>
                </c:pt>
                <c:pt idx="1735">
                  <c:v>70.599999999999994</c:v>
                </c:pt>
                <c:pt idx="1736">
                  <c:v>72.900000000000006</c:v>
                </c:pt>
                <c:pt idx="1737">
                  <c:v>72.7</c:v>
                </c:pt>
                <c:pt idx="1738">
                  <c:v>72.3</c:v>
                </c:pt>
                <c:pt idx="1739">
                  <c:v>68.2</c:v>
                </c:pt>
                <c:pt idx="1740">
                  <c:v>67.7</c:v>
                </c:pt>
                <c:pt idx="1741">
                  <c:v>71</c:v>
                </c:pt>
                <c:pt idx="1742">
                  <c:v>64.5</c:v>
                </c:pt>
                <c:pt idx="1743">
                  <c:v>71.599999999999994</c:v>
                </c:pt>
                <c:pt idx="1744">
                  <c:v>72.099999999999994</c:v>
                </c:pt>
                <c:pt idx="1745">
                  <c:v>70.3</c:v>
                </c:pt>
                <c:pt idx="1746">
                  <c:v>67.099999999999994</c:v>
                </c:pt>
                <c:pt idx="1747">
                  <c:v>65.599999999999994</c:v>
                </c:pt>
                <c:pt idx="1748">
                  <c:v>66.2</c:v>
                </c:pt>
                <c:pt idx="1749">
                  <c:v>68.900000000000006</c:v>
                </c:pt>
                <c:pt idx="1750">
                  <c:v>68.900000000000006</c:v>
                </c:pt>
                <c:pt idx="1751">
                  <c:v>68.900000000000006</c:v>
                </c:pt>
                <c:pt idx="1752">
                  <c:v>68</c:v>
                </c:pt>
                <c:pt idx="1753">
                  <c:v>63.8</c:v>
                </c:pt>
                <c:pt idx="1754">
                  <c:v>63.7</c:v>
                </c:pt>
                <c:pt idx="1755">
                  <c:v>59.2</c:v>
                </c:pt>
                <c:pt idx="1756">
                  <c:v>63.2</c:v>
                </c:pt>
                <c:pt idx="1757">
                  <c:v>63.7</c:v>
                </c:pt>
                <c:pt idx="1758">
                  <c:v>59.8</c:v>
                </c:pt>
                <c:pt idx="1759">
                  <c:v>62.8</c:v>
                </c:pt>
                <c:pt idx="1760">
                  <c:v>62.7</c:v>
                </c:pt>
                <c:pt idx="1761">
                  <c:v>62.4</c:v>
                </c:pt>
                <c:pt idx="1762">
                  <c:v>61.8</c:v>
                </c:pt>
                <c:pt idx="1763">
                  <c:v>61.7</c:v>
                </c:pt>
                <c:pt idx="1764">
                  <c:v>61.5</c:v>
                </c:pt>
                <c:pt idx="1765">
                  <c:v>67.3</c:v>
                </c:pt>
                <c:pt idx="1766">
                  <c:v>28.4</c:v>
                </c:pt>
                <c:pt idx="1767">
                  <c:v>65.400000000000006</c:v>
                </c:pt>
                <c:pt idx="1768">
                  <c:v>62.2</c:v>
                </c:pt>
                <c:pt idx="1769">
                  <c:v>41.7</c:v>
                </c:pt>
                <c:pt idx="1770">
                  <c:v>42.5</c:v>
                </c:pt>
                <c:pt idx="1771">
                  <c:v>42.2</c:v>
                </c:pt>
                <c:pt idx="1772">
                  <c:v>23.5</c:v>
                </c:pt>
                <c:pt idx="1773">
                  <c:v>38.299999999999997</c:v>
                </c:pt>
                <c:pt idx="1774">
                  <c:v>41.8</c:v>
                </c:pt>
                <c:pt idx="1775">
                  <c:v>44.3</c:v>
                </c:pt>
                <c:pt idx="1776">
                  <c:v>66.8</c:v>
                </c:pt>
                <c:pt idx="1777">
                  <c:v>32.1</c:v>
                </c:pt>
                <c:pt idx="1778">
                  <c:v>59.9</c:v>
                </c:pt>
                <c:pt idx="1779">
                  <c:v>38.4</c:v>
                </c:pt>
                <c:pt idx="1780">
                  <c:v>82.4</c:v>
                </c:pt>
                <c:pt idx="1781">
                  <c:v>78.8</c:v>
                </c:pt>
                <c:pt idx="1782">
                  <c:v>76.900000000000006</c:v>
                </c:pt>
                <c:pt idx="1783">
                  <c:v>75.3</c:v>
                </c:pt>
                <c:pt idx="1784">
                  <c:v>79.599999999999994</c:v>
                </c:pt>
                <c:pt idx="1785">
                  <c:v>80.900000000000006</c:v>
                </c:pt>
                <c:pt idx="1786">
                  <c:v>80.900000000000006</c:v>
                </c:pt>
                <c:pt idx="1787">
                  <c:v>80.099999999999994</c:v>
                </c:pt>
                <c:pt idx="1788">
                  <c:v>77.2</c:v>
                </c:pt>
                <c:pt idx="1789">
                  <c:v>77.400000000000006</c:v>
                </c:pt>
                <c:pt idx="1790">
                  <c:v>81.599999999999994</c:v>
                </c:pt>
                <c:pt idx="1791">
                  <c:v>80.900000000000006</c:v>
                </c:pt>
                <c:pt idx="1792">
                  <c:v>81.2</c:v>
                </c:pt>
                <c:pt idx="1793">
                  <c:v>80.7</c:v>
                </c:pt>
                <c:pt idx="1794">
                  <c:v>84.4</c:v>
                </c:pt>
                <c:pt idx="1795">
                  <c:v>82.8</c:v>
                </c:pt>
                <c:pt idx="1796">
                  <c:v>79.8</c:v>
                </c:pt>
                <c:pt idx="1797">
                  <c:v>85.2</c:v>
                </c:pt>
                <c:pt idx="1798">
                  <c:v>90</c:v>
                </c:pt>
                <c:pt idx="1799">
                  <c:v>85.5</c:v>
                </c:pt>
                <c:pt idx="1800">
                  <c:v>88.2</c:v>
                </c:pt>
                <c:pt idx="1801">
                  <c:v>89</c:v>
                </c:pt>
                <c:pt idx="1802">
                  <c:v>84.7</c:v>
                </c:pt>
                <c:pt idx="1803">
                  <c:v>79.8</c:v>
                </c:pt>
                <c:pt idx="1804">
                  <c:v>80.400000000000006</c:v>
                </c:pt>
                <c:pt idx="1805">
                  <c:v>89.3</c:v>
                </c:pt>
                <c:pt idx="1806">
                  <c:v>91.8</c:v>
                </c:pt>
                <c:pt idx="1807">
                  <c:v>87.8</c:v>
                </c:pt>
                <c:pt idx="1808">
                  <c:v>93.9</c:v>
                </c:pt>
                <c:pt idx="1809">
                  <c:v>84.5</c:v>
                </c:pt>
                <c:pt idx="1810">
                  <c:v>72.7</c:v>
                </c:pt>
                <c:pt idx="1811">
                  <c:v>81.2</c:v>
                </c:pt>
                <c:pt idx="1812">
                  <c:v>80</c:v>
                </c:pt>
                <c:pt idx="1813">
                  <c:v>87.3</c:v>
                </c:pt>
                <c:pt idx="1814">
                  <c:v>87.1</c:v>
                </c:pt>
                <c:pt idx="1815">
                  <c:v>87.7</c:v>
                </c:pt>
                <c:pt idx="1816">
                  <c:v>82.1</c:v>
                </c:pt>
                <c:pt idx="1817">
                  <c:v>79.599999999999994</c:v>
                </c:pt>
                <c:pt idx="1818">
                  <c:v>82.2</c:v>
                </c:pt>
                <c:pt idx="1819">
                  <c:v>88.7</c:v>
                </c:pt>
                <c:pt idx="1820">
                  <c:v>84.1</c:v>
                </c:pt>
                <c:pt idx="1821">
                  <c:v>84.3</c:v>
                </c:pt>
                <c:pt idx="1822">
                  <c:v>80.099999999999994</c:v>
                </c:pt>
                <c:pt idx="1823">
                  <c:v>80.099999999999994</c:v>
                </c:pt>
                <c:pt idx="1824">
                  <c:v>79.900000000000006</c:v>
                </c:pt>
                <c:pt idx="1825">
                  <c:v>80.400000000000006</c:v>
                </c:pt>
                <c:pt idx="1826">
                  <c:v>89</c:v>
                </c:pt>
                <c:pt idx="1827">
                  <c:v>89.9</c:v>
                </c:pt>
                <c:pt idx="1828">
                  <c:v>89.8</c:v>
                </c:pt>
                <c:pt idx="1829">
                  <c:v>95</c:v>
                </c:pt>
                <c:pt idx="1830">
                  <c:v>90.3</c:v>
                </c:pt>
                <c:pt idx="1831">
                  <c:v>87.7</c:v>
                </c:pt>
                <c:pt idx="1832">
                  <c:v>88</c:v>
                </c:pt>
                <c:pt idx="1833">
                  <c:v>86.6</c:v>
                </c:pt>
                <c:pt idx="1834">
                  <c:v>88.1</c:v>
                </c:pt>
                <c:pt idx="1835">
                  <c:v>92.4</c:v>
                </c:pt>
                <c:pt idx="1836">
                  <c:v>91.5</c:v>
                </c:pt>
                <c:pt idx="1837">
                  <c:v>85.4</c:v>
                </c:pt>
                <c:pt idx="1838">
                  <c:v>82.9</c:v>
                </c:pt>
                <c:pt idx="1839">
                  <c:v>84.7</c:v>
                </c:pt>
                <c:pt idx="1840">
                  <c:v>87.3</c:v>
                </c:pt>
                <c:pt idx="1841">
                  <c:v>94.4</c:v>
                </c:pt>
                <c:pt idx="1842">
                  <c:v>91.8</c:v>
                </c:pt>
                <c:pt idx="1843">
                  <c:v>89.3</c:v>
                </c:pt>
                <c:pt idx="1844">
                  <c:v>82.9</c:v>
                </c:pt>
                <c:pt idx="1845">
                  <c:v>83.7</c:v>
                </c:pt>
                <c:pt idx="1846">
                  <c:v>90.3</c:v>
                </c:pt>
                <c:pt idx="1847">
                  <c:v>93.8</c:v>
                </c:pt>
                <c:pt idx="1848">
                  <c:v>97.7</c:v>
                </c:pt>
                <c:pt idx="1849">
                  <c:v>95.1</c:v>
                </c:pt>
                <c:pt idx="1850">
                  <c:v>92.7</c:v>
                </c:pt>
                <c:pt idx="1851">
                  <c:v>91.5</c:v>
                </c:pt>
                <c:pt idx="1852">
                  <c:v>91.2</c:v>
                </c:pt>
                <c:pt idx="1853">
                  <c:v>90.2</c:v>
                </c:pt>
                <c:pt idx="1854">
                  <c:v>91.3</c:v>
                </c:pt>
                <c:pt idx="1855">
                  <c:v>99</c:v>
                </c:pt>
                <c:pt idx="1856">
                  <c:v>100.2</c:v>
                </c:pt>
                <c:pt idx="1857">
                  <c:v>87.7</c:v>
                </c:pt>
                <c:pt idx="1858">
                  <c:v>80.099999999999994</c:v>
                </c:pt>
                <c:pt idx="1859">
                  <c:v>79.5</c:v>
                </c:pt>
                <c:pt idx="1860">
                  <c:v>80.099999999999994</c:v>
                </c:pt>
                <c:pt idx="1861">
                  <c:v>81.2</c:v>
                </c:pt>
                <c:pt idx="1862">
                  <c:v>84.9</c:v>
                </c:pt>
                <c:pt idx="1863">
                  <c:v>83.6</c:v>
                </c:pt>
                <c:pt idx="1864">
                  <c:v>82.5</c:v>
                </c:pt>
                <c:pt idx="1865">
                  <c:v>80.099999999999994</c:v>
                </c:pt>
                <c:pt idx="1866">
                  <c:v>79.900000000000006</c:v>
                </c:pt>
                <c:pt idx="1867">
                  <c:v>85.1</c:v>
                </c:pt>
                <c:pt idx="1868">
                  <c:v>87.2</c:v>
                </c:pt>
                <c:pt idx="1869">
                  <c:v>87.9</c:v>
                </c:pt>
                <c:pt idx="1870">
                  <c:v>89.9</c:v>
                </c:pt>
                <c:pt idx="1871">
                  <c:v>88.5</c:v>
                </c:pt>
                <c:pt idx="1872">
                  <c:v>82.4</c:v>
                </c:pt>
                <c:pt idx="1873">
                  <c:v>81</c:v>
                </c:pt>
                <c:pt idx="1874">
                  <c:v>84.4</c:v>
                </c:pt>
                <c:pt idx="1875">
                  <c:v>78.099999999999994</c:v>
                </c:pt>
                <c:pt idx="1876">
                  <c:v>77.3</c:v>
                </c:pt>
                <c:pt idx="1877">
                  <c:v>82.2</c:v>
                </c:pt>
                <c:pt idx="1878">
                  <c:v>94.3</c:v>
                </c:pt>
                <c:pt idx="1879">
                  <c:v>90.7</c:v>
                </c:pt>
                <c:pt idx="1880">
                  <c:v>88.9</c:v>
                </c:pt>
                <c:pt idx="1881">
                  <c:v>91.6</c:v>
                </c:pt>
                <c:pt idx="1882">
                  <c:v>94.4</c:v>
                </c:pt>
                <c:pt idx="1883">
                  <c:v>97.9</c:v>
                </c:pt>
                <c:pt idx="1884">
                  <c:v>95.7</c:v>
                </c:pt>
                <c:pt idx="1885">
                  <c:v>97.8</c:v>
                </c:pt>
                <c:pt idx="1886">
                  <c:v>90.2</c:v>
                </c:pt>
                <c:pt idx="1887">
                  <c:v>76.400000000000006</c:v>
                </c:pt>
                <c:pt idx="1888">
                  <c:v>81.900000000000006</c:v>
                </c:pt>
                <c:pt idx="1889">
                  <c:v>82.8</c:v>
                </c:pt>
                <c:pt idx="1890">
                  <c:v>75.599999999999994</c:v>
                </c:pt>
                <c:pt idx="1891">
                  <c:v>79.599999999999994</c:v>
                </c:pt>
                <c:pt idx="1892">
                  <c:v>76.599999999999994</c:v>
                </c:pt>
                <c:pt idx="1893">
                  <c:v>69</c:v>
                </c:pt>
                <c:pt idx="1894">
                  <c:v>73.900000000000006</c:v>
                </c:pt>
                <c:pt idx="1895">
                  <c:v>77.400000000000006</c:v>
                </c:pt>
                <c:pt idx="1896">
                  <c:v>91.3</c:v>
                </c:pt>
                <c:pt idx="1897">
                  <c:v>91.3</c:v>
                </c:pt>
                <c:pt idx="1898">
                  <c:v>94.9</c:v>
                </c:pt>
                <c:pt idx="1899">
                  <c:v>93.3</c:v>
                </c:pt>
                <c:pt idx="1900">
                  <c:v>93.8</c:v>
                </c:pt>
                <c:pt idx="1901">
                  <c:v>95.6</c:v>
                </c:pt>
                <c:pt idx="1902">
                  <c:v>100.8</c:v>
                </c:pt>
                <c:pt idx="1903">
                  <c:v>102.1</c:v>
                </c:pt>
                <c:pt idx="1904">
                  <c:v>105.6</c:v>
                </c:pt>
                <c:pt idx="1905">
                  <c:v>104.3</c:v>
                </c:pt>
                <c:pt idx="1906">
                  <c:v>103.1</c:v>
                </c:pt>
                <c:pt idx="1907">
                  <c:v>92.6</c:v>
                </c:pt>
                <c:pt idx="1908">
                  <c:v>94</c:v>
                </c:pt>
                <c:pt idx="1909">
                  <c:v>100</c:v>
                </c:pt>
                <c:pt idx="1910">
                  <c:v>99</c:v>
                </c:pt>
                <c:pt idx="1911">
                  <c:v>102</c:v>
                </c:pt>
                <c:pt idx="1912">
                  <c:v>101</c:v>
                </c:pt>
                <c:pt idx="1913">
                  <c:v>100</c:v>
                </c:pt>
                <c:pt idx="1914">
                  <c:v>92</c:v>
                </c:pt>
                <c:pt idx="1915">
                  <c:v>90</c:v>
                </c:pt>
                <c:pt idx="1916">
                  <c:v>98</c:v>
                </c:pt>
                <c:pt idx="1917">
                  <c:v>96</c:v>
                </c:pt>
                <c:pt idx="1918">
                  <c:v>85</c:v>
                </c:pt>
                <c:pt idx="1919">
                  <c:v>72</c:v>
                </c:pt>
                <c:pt idx="1920">
                  <c:v>81</c:v>
                </c:pt>
                <c:pt idx="1921">
                  <c:v>79</c:v>
                </c:pt>
                <c:pt idx="1922">
                  <c:v>84</c:v>
                </c:pt>
                <c:pt idx="1923">
                  <c:v>87</c:v>
                </c:pt>
                <c:pt idx="1924">
                  <c:v>89</c:v>
                </c:pt>
                <c:pt idx="1925">
                  <c:v>88</c:v>
                </c:pt>
                <c:pt idx="1926">
                  <c:v>90</c:v>
                </c:pt>
                <c:pt idx="1927">
                  <c:v>91</c:v>
                </c:pt>
                <c:pt idx="1928">
                  <c:v>88</c:v>
                </c:pt>
                <c:pt idx="1929">
                  <c:v>88</c:v>
                </c:pt>
                <c:pt idx="1930">
                  <c:v>92</c:v>
                </c:pt>
                <c:pt idx="1931">
                  <c:v>93</c:v>
                </c:pt>
                <c:pt idx="1932">
                  <c:v>94</c:v>
                </c:pt>
                <c:pt idx="1933">
                  <c:v>95</c:v>
                </c:pt>
                <c:pt idx="1934">
                  <c:v>96</c:v>
                </c:pt>
                <c:pt idx="1935">
                  <c:v>90</c:v>
                </c:pt>
                <c:pt idx="1936">
                  <c:v>89</c:v>
                </c:pt>
              </c:numCache>
            </c:numRef>
          </c:val>
          <c:smooth val="0"/>
          <c:extLst>
            <c:ext xmlns:c16="http://schemas.microsoft.com/office/drawing/2014/chart" uri="{C3380CC4-5D6E-409C-BE32-E72D297353CC}">
              <c16:uniqueId val="{00000000-9AE4-4EA2-8729-07CD33D1FEC6}"/>
            </c:ext>
          </c:extLst>
        </c:ser>
        <c:ser>
          <c:idx val="1"/>
          <c:order val="1"/>
          <c:tx>
            <c:strRef>
              <c:f>'Sheet 1'!$E$1</c:f>
              <c:strCache>
                <c:ptCount val="1"/>
                <c:pt idx="0">
                  <c:v>LNG</c:v>
                </c:pt>
              </c:strCache>
            </c:strRef>
          </c:tx>
          <c:spPr>
            <a:ln w="19050">
              <a:solidFill>
                <a:srgbClr val="C00000"/>
              </a:solidFill>
              <a:prstDash val="solid"/>
            </a:ln>
          </c:spPr>
          <c:marker>
            <c:symbol val="none"/>
          </c:marker>
          <c:cat>
            <c:numRef>
              <c:f>'Sheet 1'!$A$2:$A$1938</c:f>
              <c:numCache>
                <c:formatCode>mm/dd/yyyy</c:formatCode>
                <c:ptCount val="1937"/>
                <c:pt idx="0">
                  <c:v>43313</c:v>
                </c:pt>
                <c:pt idx="1">
                  <c:v>43314</c:v>
                </c:pt>
                <c:pt idx="2">
                  <c:v>43315</c:v>
                </c:pt>
                <c:pt idx="3">
                  <c:v>43316</c:v>
                </c:pt>
                <c:pt idx="4">
                  <c:v>43317</c:v>
                </c:pt>
                <c:pt idx="5">
                  <c:v>43318</c:v>
                </c:pt>
                <c:pt idx="6">
                  <c:v>43319</c:v>
                </c:pt>
                <c:pt idx="7">
                  <c:v>43320</c:v>
                </c:pt>
                <c:pt idx="8">
                  <c:v>43321</c:v>
                </c:pt>
                <c:pt idx="9">
                  <c:v>43322</c:v>
                </c:pt>
                <c:pt idx="10">
                  <c:v>43323</c:v>
                </c:pt>
                <c:pt idx="11">
                  <c:v>43324</c:v>
                </c:pt>
                <c:pt idx="12">
                  <c:v>43325</c:v>
                </c:pt>
                <c:pt idx="13">
                  <c:v>43326</c:v>
                </c:pt>
                <c:pt idx="14">
                  <c:v>43327</c:v>
                </c:pt>
                <c:pt idx="15">
                  <c:v>43328</c:v>
                </c:pt>
                <c:pt idx="16">
                  <c:v>43329</c:v>
                </c:pt>
                <c:pt idx="17">
                  <c:v>43330</c:v>
                </c:pt>
                <c:pt idx="18">
                  <c:v>43331</c:v>
                </c:pt>
                <c:pt idx="19">
                  <c:v>43332</c:v>
                </c:pt>
                <c:pt idx="20">
                  <c:v>43333</c:v>
                </c:pt>
                <c:pt idx="21">
                  <c:v>43334</c:v>
                </c:pt>
                <c:pt idx="22">
                  <c:v>43335</c:v>
                </c:pt>
                <c:pt idx="23">
                  <c:v>43336</c:v>
                </c:pt>
                <c:pt idx="24">
                  <c:v>43337</c:v>
                </c:pt>
                <c:pt idx="25">
                  <c:v>43338</c:v>
                </c:pt>
                <c:pt idx="26">
                  <c:v>43339</c:v>
                </c:pt>
                <c:pt idx="27">
                  <c:v>43340</c:v>
                </c:pt>
                <c:pt idx="28">
                  <c:v>43341</c:v>
                </c:pt>
                <c:pt idx="29">
                  <c:v>43342</c:v>
                </c:pt>
                <c:pt idx="30">
                  <c:v>43343</c:v>
                </c:pt>
                <c:pt idx="31">
                  <c:v>43344</c:v>
                </c:pt>
                <c:pt idx="32">
                  <c:v>43345</c:v>
                </c:pt>
                <c:pt idx="33">
                  <c:v>43346</c:v>
                </c:pt>
                <c:pt idx="34">
                  <c:v>43347</c:v>
                </c:pt>
                <c:pt idx="35">
                  <c:v>43348</c:v>
                </c:pt>
                <c:pt idx="36">
                  <c:v>43349</c:v>
                </c:pt>
                <c:pt idx="37">
                  <c:v>43350</c:v>
                </c:pt>
                <c:pt idx="38">
                  <c:v>43351</c:v>
                </c:pt>
                <c:pt idx="39">
                  <c:v>43352</c:v>
                </c:pt>
                <c:pt idx="40">
                  <c:v>43353</c:v>
                </c:pt>
                <c:pt idx="41">
                  <c:v>43354</c:v>
                </c:pt>
                <c:pt idx="42">
                  <c:v>43355</c:v>
                </c:pt>
                <c:pt idx="43">
                  <c:v>43356</c:v>
                </c:pt>
                <c:pt idx="44">
                  <c:v>43357</c:v>
                </c:pt>
                <c:pt idx="45">
                  <c:v>43358</c:v>
                </c:pt>
                <c:pt idx="46">
                  <c:v>43359</c:v>
                </c:pt>
                <c:pt idx="47">
                  <c:v>43360</c:v>
                </c:pt>
                <c:pt idx="48">
                  <c:v>43361</c:v>
                </c:pt>
                <c:pt idx="49">
                  <c:v>43362</c:v>
                </c:pt>
                <c:pt idx="50">
                  <c:v>43363</c:v>
                </c:pt>
                <c:pt idx="51">
                  <c:v>43364</c:v>
                </c:pt>
                <c:pt idx="52">
                  <c:v>43365</c:v>
                </c:pt>
                <c:pt idx="53">
                  <c:v>43366</c:v>
                </c:pt>
                <c:pt idx="54">
                  <c:v>43367</c:v>
                </c:pt>
                <c:pt idx="55">
                  <c:v>43368</c:v>
                </c:pt>
                <c:pt idx="56">
                  <c:v>43369</c:v>
                </c:pt>
                <c:pt idx="57">
                  <c:v>43370</c:v>
                </c:pt>
                <c:pt idx="58">
                  <c:v>43371</c:v>
                </c:pt>
                <c:pt idx="59">
                  <c:v>43372</c:v>
                </c:pt>
                <c:pt idx="60">
                  <c:v>43373</c:v>
                </c:pt>
                <c:pt idx="61">
                  <c:v>43374</c:v>
                </c:pt>
                <c:pt idx="62">
                  <c:v>43375</c:v>
                </c:pt>
                <c:pt idx="63">
                  <c:v>43376</c:v>
                </c:pt>
                <c:pt idx="64">
                  <c:v>43377</c:v>
                </c:pt>
                <c:pt idx="65">
                  <c:v>43378</c:v>
                </c:pt>
                <c:pt idx="66">
                  <c:v>43379</c:v>
                </c:pt>
                <c:pt idx="67">
                  <c:v>43380</c:v>
                </c:pt>
                <c:pt idx="68">
                  <c:v>43381</c:v>
                </c:pt>
                <c:pt idx="69">
                  <c:v>43382</c:v>
                </c:pt>
                <c:pt idx="70">
                  <c:v>43383</c:v>
                </c:pt>
                <c:pt idx="71">
                  <c:v>43384</c:v>
                </c:pt>
                <c:pt idx="72">
                  <c:v>43385</c:v>
                </c:pt>
                <c:pt idx="73">
                  <c:v>43386</c:v>
                </c:pt>
                <c:pt idx="74">
                  <c:v>43387</c:v>
                </c:pt>
                <c:pt idx="75">
                  <c:v>43388</c:v>
                </c:pt>
                <c:pt idx="76">
                  <c:v>43389</c:v>
                </c:pt>
                <c:pt idx="77">
                  <c:v>43390</c:v>
                </c:pt>
                <c:pt idx="78">
                  <c:v>43391</c:v>
                </c:pt>
                <c:pt idx="79">
                  <c:v>43392</c:v>
                </c:pt>
                <c:pt idx="80">
                  <c:v>43393</c:v>
                </c:pt>
                <c:pt idx="81">
                  <c:v>43394</c:v>
                </c:pt>
                <c:pt idx="82">
                  <c:v>43395</c:v>
                </c:pt>
                <c:pt idx="83">
                  <c:v>43396</c:v>
                </c:pt>
                <c:pt idx="84">
                  <c:v>43397</c:v>
                </c:pt>
                <c:pt idx="85">
                  <c:v>43398</c:v>
                </c:pt>
                <c:pt idx="86">
                  <c:v>43399</c:v>
                </c:pt>
                <c:pt idx="87">
                  <c:v>43400</c:v>
                </c:pt>
                <c:pt idx="88">
                  <c:v>43401</c:v>
                </c:pt>
                <c:pt idx="89">
                  <c:v>43402</c:v>
                </c:pt>
                <c:pt idx="90">
                  <c:v>43403</c:v>
                </c:pt>
                <c:pt idx="91">
                  <c:v>43404</c:v>
                </c:pt>
                <c:pt idx="92">
                  <c:v>43405</c:v>
                </c:pt>
                <c:pt idx="93">
                  <c:v>43406</c:v>
                </c:pt>
                <c:pt idx="94">
                  <c:v>43407</c:v>
                </c:pt>
                <c:pt idx="95">
                  <c:v>43408</c:v>
                </c:pt>
                <c:pt idx="96">
                  <c:v>43409</c:v>
                </c:pt>
                <c:pt idx="97">
                  <c:v>43410</c:v>
                </c:pt>
                <c:pt idx="98">
                  <c:v>43411</c:v>
                </c:pt>
                <c:pt idx="99">
                  <c:v>43412</c:v>
                </c:pt>
                <c:pt idx="100">
                  <c:v>43413</c:v>
                </c:pt>
                <c:pt idx="101">
                  <c:v>43414</c:v>
                </c:pt>
                <c:pt idx="102">
                  <c:v>43415</c:v>
                </c:pt>
                <c:pt idx="103">
                  <c:v>43416</c:v>
                </c:pt>
                <c:pt idx="104">
                  <c:v>43417</c:v>
                </c:pt>
                <c:pt idx="105">
                  <c:v>43418</c:v>
                </c:pt>
                <c:pt idx="106">
                  <c:v>43419</c:v>
                </c:pt>
                <c:pt idx="107">
                  <c:v>43420</c:v>
                </c:pt>
                <c:pt idx="108">
                  <c:v>43421</c:v>
                </c:pt>
                <c:pt idx="109">
                  <c:v>43422</c:v>
                </c:pt>
                <c:pt idx="110">
                  <c:v>43423</c:v>
                </c:pt>
                <c:pt idx="111">
                  <c:v>43424</c:v>
                </c:pt>
                <c:pt idx="112">
                  <c:v>43425</c:v>
                </c:pt>
                <c:pt idx="113">
                  <c:v>43426</c:v>
                </c:pt>
                <c:pt idx="114">
                  <c:v>43427</c:v>
                </c:pt>
                <c:pt idx="115">
                  <c:v>43428</c:v>
                </c:pt>
                <c:pt idx="116">
                  <c:v>43429</c:v>
                </c:pt>
                <c:pt idx="117">
                  <c:v>43430</c:v>
                </c:pt>
                <c:pt idx="118">
                  <c:v>43431</c:v>
                </c:pt>
                <c:pt idx="119">
                  <c:v>43432</c:v>
                </c:pt>
                <c:pt idx="120">
                  <c:v>43433</c:v>
                </c:pt>
                <c:pt idx="121">
                  <c:v>43434</c:v>
                </c:pt>
                <c:pt idx="122">
                  <c:v>43435</c:v>
                </c:pt>
                <c:pt idx="123">
                  <c:v>43436</c:v>
                </c:pt>
                <c:pt idx="124">
                  <c:v>43437</c:v>
                </c:pt>
                <c:pt idx="125">
                  <c:v>43438</c:v>
                </c:pt>
                <c:pt idx="126">
                  <c:v>43439</c:v>
                </c:pt>
                <c:pt idx="127">
                  <c:v>43440</c:v>
                </c:pt>
                <c:pt idx="128">
                  <c:v>43441</c:v>
                </c:pt>
                <c:pt idx="129">
                  <c:v>43442</c:v>
                </c:pt>
                <c:pt idx="130">
                  <c:v>43443</c:v>
                </c:pt>
                <c:pt idx="131">
                  <c:v>43444</c:v>
                </c:pt>
                <c:pt idx="132">
                  <c:v>43445</c:v>
                </c:pt>
                <c:pt idx="133">
                  <c:v>43446</c:v>
                </c:pt>
                <c:pt idx="134">
                  <c:v>43447</c:v>
                </c:pt>
                <c:pt idx="135">
                  <c:v>43448</c:v>
                </c:pt>
                <c:pt idx="136">
                  <c:v>43449</c:v>
                </c:pt>
                <c:pt idx="137">
                  <c:v>43450</c:v>
                </c:pt>
                <c:pt idx="138">
                  <c:v>43451</c:v>
                </c:pt>
                <c:pt idx="139">
                  <c:v>43452</c:v>
                </c:pt>
                <c:pt idx="140">
                  <c:v>43453</c:v>
                </c:pt>
                <c:pt idx="141">
                  <c:v>43454</c:v>
                </c:pt>
                <c:pt idx="142">
                  <c:v>43455</c:v>
                </c:pt>
                <c:pt idx="143">
                  <c:v>43456</c:v>
                </c:pt>
                <c:pt idx="144">
                  <c:v>43457</c:v>
                </c:pt>
                <c:pt idx="145">
                  <c:v>43458</c:v>
                </c:pt>
                <c:pt idx="146">
                  <c:v>43459</c:v>
                </c:pt>
                <c:pt idx="147">
                  <c:v>43460</c:v>
                </c:pt>
                <c:pt idx="148">
                  <c:v>43461</c:v>
                </c:pt>
                <c:pt idx="149">
                  <c:v>43462</c:v>
                </c:pt>
                <c:pt idx="150">
                  <c:v>43463</c:v>
                </c:pt>
                <c:pt idx="151">
                  <c:v>43464</c:v>
                </c:pt>
                <c:pt idx="152">
                  <c:v>43465</c:v>
                </c:pt>
                <c:pt idx="153">
                  <c:v>43466</c:v>
                </c:pt>
                <c:pt idx="154">
                  <c:v>43467</c:v>
                </c:pt>
                <c:pt idx="155">
                  <c:v>43468</c:v>
                </c:pt>
                <c:pt idx="156">
                  <c:v>43469</c:v>
                </c:pt>
                <c:pt idx="157">
                  <c:v>43470</c:v>
                </c:pt>
                <c:pt idx="158">
                  <c:v>43471</c:v>
                </c:pt>
                <c:pt idx="159">
                  <c:v>43472</c:v>
                </c:pt>
                <c:pt idx="160">
                  <c:v>43473</c:v>
                </c:pt>
                <c:pt idx="161">
                  <c:v>43474</c:v>
                </c:pt>
                <c:pt idx="162">
                  <c:v>43475</c:v>
                </c:pt>
                <c:pt idx="163">
                  <c:v>43476</c:v>
                </c:pt>
                <c:pt idx="164">
                  <c:v>43477</c:v>
                </c:pt>
                <c:pt idx="165">
                  <c:v>43478</c:v>
                </c:pt>
                <c:pt idx="166">
                  <c:v>43479</c:v>
                </c:pt>
                <c:pt idx="167">
                  <c:v>43480</c:v>
                </c:pt>
                <c:pt idx="168">
                  <c:v>43481</c:v>
                </c:pt>
                <c:pt idx="169">
                  <c:v>43482</c:v>
                </c:pt>
                <c:pt idx="170">
                  <c:v>43483</c:v>
                </c:pt>
                <c:pt idx="171">
                  <c:v>43484</c:v>
                </c:pt>
                <c:pt idx="172">
                  <c:v>43485</c:v>
                </c:pt>
                <c:pt idx="173">
                  <c:v>43486</c:v>
                </c:pt>
                <c:pt idx="174">
                  <c:v>43487</c:v>
                </c:pt>
                <c:pt idx="175">
                  <c:v>43488</c:v>
                </c:pt>
                <c:pt idx="176">
                  <c:v>43489</c:v>
                </c:pt>
                <c:pt idx="177">
                  <c:v>43490</c:v>
                </c:pt>
                <c:pt idx="178">
                  <c:v>43491</c:v>
                </c:pt>
                <c:pt idx="179">
                  <c:v>43492</c:v>
                </c:pt>
                <c:pt idx="180">
                  <c:v>43493</c:v>
                </c:pt>
                <c:pt idx="181">
                  <c:v>43494</c:v>
                </c:pt>
                <c:pt idx="182">
                  <c:v>43495</c:v>
                </c:pt>
                <c:pt idx="183">
                  <c:v>43496</c:v>
                </c:pt>
                <c:pt idx="184">
                  <c:v>43497</c:v>
                </c:pt>
                <c:pt idx="185">
                  <c:v>43498</c:v>
                </c:pt>
                <c:pt idx="186">
                  <c:v>43499</c:v>
                </c:pt>
                <c:pt idx="187">
                  <c:v>43500</c:v>
                </c:pt>
                <c:pt idx="188">
                  <c:v>43501</c:v>
                </c:pt>
                <c:pt idx="189">
                  <c:v>43502</c:v>
                </c:pt>
                <c:pt idx="190">
                  <c:v>43503</c:v>
                </c:pt>
                <c:pt idx="191">
                  <c:v>43504</c:v>
                </c:pt>
                <c:pt idx="192">
                  <c:v>43505</c:v>
                </c:pt>
                <c:pt idx="193">
                  <c:v>43506</c:v>
                </c:pt>
                <c:pt idx="194">
                  <c:v>43507</c:v>
                </c:pt>
                <c:pt idx="195">
                  <c:v>43508</c:v>
                </c:pt>
                <c:pt idx="196">
                  <c:v>43509</c:v>
                </c:pt>
                <c:pt idx="197">
                  <c:v>43510</c:v>
                </c:pt>
                <c:pt idx="198">
                  <c:v>43511</c:v>
                </c:pt>
                <c:pt idx="199">
                  <c:v>43512</c:v>
                </c:pt>
                <c:pt idx="200">
                  <c:v>43513</c:v>
                </c:pt>
                <c:pt idx="201">
                  <c:v>43514</c:v>
                </c:pt>
                <c:pt idx="202">
                  <c:v>43515</c:v>
                </c:pt>
                <c:pt idx="203">
                  <c:v>43516</c:v>
                </c:pt>
                <c:pt idx="204">
                  <c:v>43517</c:v>
                </c:pt>
                <c:pt idx="205">
                  <c:v>43518</c:v>
                </c:pt>
                <c:pt idx="206">
                  <c:v>43519</c:v>
                </c:pt>
                <c:pt idx="207">
                  <c:v>43520</c:v>
                </c:pt>
                <c:pt idx="208">
                  <c:v>43521</c:v>
                </c:pt>
                <c:pt idx="209">
                  <c:v>43522</c:v>
                </c:pt>
                <c:pt idx="210">
                  <c:v>43523</c:v>
                </c:pt>
                <c:pt idx="211">
                  <c:v>43524</c:v>
                </c:pt>
                <c:pt idx="212">
                  <c:v>43525</c:v>
                </c:pt>
                <c:pt idx="213">
                  <c:v>43526</c:v>
                </c:pt>
                <c:pt idx="214">
                  <c:v>43527</c:v>
                </c:pt>
                <c:pt idx="215">
                  <c:v>43528</c:v>
                </c:pt>
                <c:pt idx="216">
                  <c:v>43529</c:v>
                </c:pt>
                <c:pt idx="217">
                  <c:v>43530</c:v>
                </c:pt>
                <c:pt idx="218">
                  <c:v>43531</c:v>
                </c:pt>
                <c:pt idx="219">
                  <c:v>43532</c:v>
                </c:pt>
                <c:pt idx="220">
                  <c:v>43533</c:v>
                </c:pt>
                <c:pt idx="221">
                  <c:v>43534</c:v>
                </c:pt>
                <c:pt idx="222">
                  <c:v>43535</c:v>
                </c:pt>
                <c:pt idx="223">
                  <c:v>43536</c:v>
                </c:pt>
                <c:pt idx="224">
                  <c:v>43537</c:v>
                </c:pt>
                <c:pt idx="225">
                  <c:v>43538</c:v>
                </c:pt>
                <c:pt idx="226">
                  <c:v>43539</c:v>
                </c:pt>
                <c:pt idx="227">
                  <c:v>43540</c:v>
                </c:pt>
                <c:pt idx="228">
                  <c:v>43541</c:v>
                </c:pt>
                <c:pt idx="229">
                  <c:v>43542</c:v>
                </c:pt>
                <c:pt idx="230">
                  <c:v>43543</c:v>
                </c:pt>
                <c:pt idx="231">
                  <c:v>43544</c:v>
                </c:pt>
                <c:pt idx="232">
                  <c:v>43545</c:v>
                </c:pt>
                <c:pt idx="233">
                  <c:v>43546</c:v>
                </c:pt>
                <c:pt idx="234">
                  <c:v>43547</c:v>
                </c:pt>
                <c:pt idx="235">
                  <c:v>43548</c:v>
                </c:pt>
                <c:pt idx="236">
                  <c:v>43549</c:v>
                </c:pt>
                <c:pt idx="237">
                  <c:v>43550</c:v>
                </c:pt>
                <c:pt idx="238">
                  <c:v>43551</c:v>
                </c:pt>
                <c:pt idx="239">
                  <c:v>43552</c:v>
                </c:pt>
                <c:pt idx="240">
                  <c:v>43553</c:v>
                </c:pt>
                <c:pt idx="241">
                  <c:v>43554</c:v>
                </c:pt>
                <c:pt idx="242">
                  <c:v>43555</c:v>
                </c:pt>
                <c:pt idx="243">
                  <c:v>43556</c:v>
                </c:pt>
                <c:pt idx="244">
                  <c:v>43557</c:v>
                </c:pt>
                <c:pt idx="245">
                  <c:v>43558</c:v>
                </c:pt>
                <c:pt idx="246">
                  <c:v>43559</c:v>
                </c:pt>
                <c:pt idx="247">
                  <c:v>43560</c:v>
                </c:pt>
                <c:pt idx="248">
                  <c:v>43561</c:v>
                </c:pt>
                <c:pt idx="249">
                  <c:v>43562</c:v>
                </c:pt>
                <c:pt idx="250">
                  <c:v>43563</c:v>
                </c:pt>
                <c:pt idx="251">
                  <c:v>43564</c:v>
                </c:pt>
                <c:pt idx="252">
                  <c:v>43565</c:v>
                </c:pt>
                <c:pt idx="253">
                  <c:v>43566</c:v>
                </c:pt>
                <c:pt idx="254">
                  <c:v>43567</c:v>
                </c:pt>
                <c:pt idx="255">
                  <c:v>43568</c:v>
                </c:pt>
                <c:pt idx="256">
                  <c:v>43569</c:v>
                </c:pt>
                <c:pt idx="257">
                  <c:v>43570</c:v>
                </c:pt>
                <c:pt idx="258">
                  <c:v>43571</c:v>
                </c:pt>
                <c:pt idx="259">
                  <c:v>43572</c:v>
                </c:pt>
                <c:pt idx="260">
                  <c:v>43573</c:v>
                </c:pt>
                <c:pt idx="261">
                  <c:v>43574</c:v>
                </c:pt>
                <c:pt idx="262">
                  <c:v>43575</c:v>
                </c:pt>
                <c:pt idx="263">
                  <c:v>43576</c:v>
                </c:pt>
                <c:pt idx="264">
                  <c:v>43577</c:v>
                </c:pt>
                <c:pt idx="265">
                  <c:v>43578</c:v>
                </c:pt>
                <c:pt idx="266">
                  <c:v>43579</c:v>
                </c:pt>
                <c:pt idx="267">
                  <c:v>43580</c:v>
                </c:pt>
                <c:pt idx="268">
                  <c:v>43581</c:v>
                </c:pt>
                <c:pt idx="269">
                  <c:v>43582</c:v>
                </c:pt>
                <c:pt idx="270">
                  <c:v>43583</c:v>
                </c:pt>
                <c:pt idx="271">
                  <c:v>43584</c:v>
                </c:pt>
                <c:pt idx="272">
                  <c:v>43585</c:v>
                </c:pt>
                <c:pt idx="273">
                  <c:v>43586</c:v>
                </c:pt>
                <c:pt idx="274">
                  <c:v>43587</c:v>
                </c:pt>
                <c:pt idx="275">
                  <c:v>43588</c:v>
                </c:pt>
                <c:pt idx="276">
                  <c:v>43589</c:v>
                </c:pt>
                <c:pt idx="277">
                  <c:v>43590</c:v>
                </c:pt>
                <c:pt idx="278">
                  <c:v>43591</c:v>
                </c:pt>
                <c:pt idx="279">
                  <c:v>43592</c:v>
                </c:pt>
                <c:pt idx="280">
                  <c:v>43593</c:v>
                </c:pt>
                <c:pt idx="281">
                  <c:v>43594</c:v>
                </c:pt>
                <c:pt idx="282">
                  <c:v>43595</c:v>
                </c:pt>
                <c:pt idx="283">
                  <c:v>43596</c:v>
                </c:pt>
                <c:pt idx="284">
                  <c:v>43597</c:v>
                </c:pt>
                <c:pt idx="285">
                  <c:v>43598</c:v>
                </c:pt>
                <c:pt idx="286">
                  <c:v>43599</c:v>
                </c:pt>
                <c:pt idx="287">
                  <c:v>43600</c:v>
                </c:pt>
                <c:pt idx="288">
                  <c:v>43601</c:v>
                </c:pt>
                <c:pt idx="289">
                  <c:v>43602</c:v>
                </c:pt>
                <c:pt idx="290">
                  <c:v>43603</c:v>
                </c:pt>
                <c:pt idx="291">
                  <c:v>43604</c:v>
                </c:pt>
                <c:pt idx="292">
                  <c:v>43605</c:v>
                </c:pt>
                <c:pt idx="293">
                  <c:v>43606</c:v>
                </c:pt>
                <c:pt idx="294">
                  <c:v>43607</c:v>
                </c:pt>
                <c:pt idx="295">
                  <c:v>43608</c:v>
                </c:pt>
                <c:pt idx="296">
                  <c:v>43609</c:v>
                </c:pt>
                <c:pt idx="297">
                  <c:v>43610</c:v>
                </c:pt>
                <c:pt idx="298">
                  <c:v>43611</c:v>
                </c:pt>
                <c:pt idx="299">
                  <c:v>43612</c:v>
                </c:pt>
                <c:pt idx="300">
                  <c:v>43613</c:v>
                </c:pt>
                <c:pt idx="301">
                  <c:v>43614</c:v>
                </c:pt>
                <c:pt idx="302">
                  <c:v>43615</c:v>
                </c:pt>
                <c:pt idx="303">
                  <c:v>43616</c:v>
                </c:pt>
                <c:pt idx="304">
                  <c:v>43617</c:v>
                </c:pt>
                <c:pt idx="305">
                  <c:v>43618</c:v>
                </c:pt>
                <c:pt idx="306">
                  <c:v>43619</c:v>
                </c:pt>
                <c:pt idx="307">
                  <c:v>43620</c:v>
                </c:pt>
                <c:pt idx="308">
                  <c:v>43621</c:v>
                </c:pt>
                <c:pt idx="309">
                  <c:v>43622</c:v>
                </c:pt>
                <c:pt idx="310">
                  <c:v>43623</c:v>
                </c:pt>
                <c:pt idx="311">
                  <c:v>43624</c:v>
                </c:pt>
                <c:pt idx="312">
                  <c:v>43625</c:v>
                </c:pt>
                <c:pt idx="313">
                  <c:v>43626</c:v>
                </c:pt>
                <c:pt idx="314">
                  <c:v>43627</c:v>
                </c:pt>
                <c:pt idx="315">
                  <c:v>43628</c:v>
                </c:pt>
                <c:pt idx="316">
                  <c:v>43629</c:v>
                </c:pt>
                <c:pt idx="317">
                  <c:v>43630</c:v>
                </c:pt>
                <c:pt idx="318">
                  <c:v>43631</c:v>
                </c:pt>
                <c:pt idx="319">
                  <c:v>43632</c:v>
                </c:pt>
                <c:pt idx="320">
                  <c:v>43633</c:v>
                </c:pt>
                <c:pt idx="321">
                  <c:v>43634</c:v>
                </c:pt>
                <c:pt idx="322">
                  <c:v>43635</c:v>
                </c:pt>
                <c:pt idx="323">
                  <c:v>43636</c:v>
                </c:pt>
                <c:pt idx="324">
                  <c:v>43637</c:v>
                </c:pt>
                <c:pt idx="325">
                  <c:v>43638</c:v>
                </c:pt>
                <c:pt idx="326">
                  <c:v>43639</c:v>
                </c:pt>
                <c:pt idx="327">
                  <c:v>43640</c:v>
                </c:pt>
                <c:pt idx="328">
                  <c:v>43641</c:v>
                </c:pt>
                <c:pt idx="329">
                  <c:v>43642</c:v>
                </c:pt>
                <c:pt idx="330">
                  <c:v>43643</c:v>
                </c:pt>
                <c:pt idx="331">
                  <c:v>43644</c:v>
                </c:pt>
                <c:pt idx="332">
                  <c:v>43645</c:v>
                </c:pt>
                <c:pt idx="333">
                  <c:v>43646</c:v>
                </c:pt>
                <c:pt idx="334">
                  <c:v>43647</c:v>
                </c:pt>
                <c:pt idx="335">
                  <c:v>43648</c:v>
                </c:pt>
                <c:pt idx="336">
                  <c:v>43649</c:v>
                </c:pt>
                <c:pt idx="337">
                  <c:v>43650</c:v>
                </c:pt>
                <c:pt idx="338">
                  <c:v>43651</c:v>
                </c:pt>
                <c:pt idx="339">
                  <c:v>43652</c:v>
                </c:pt>
                <c:pt idx="340">
                  <c:v>43653</c:v>
                </c:pt>
                <c:pt idx="341">
                  <c:v>43654</c:v>
                </c:pt>
                <c:pt idx="342">
                  <c:v>43655</c:v>
                </c:pt>
                <c:pt idx="343">
                  <c:v>43656</c:v>
                </c:pt>
                <c:pt idx="344">
                  <c:v>43657</c:v>
                </c:pt>
                <c:pt idx="345">
                  <c:v>43658</c:v>
                </c:pt>
                <c:pt idx="346">
                  <c:v>43659</c:v>
                </c:pt>
                <c:pt idx="347">
                  <c:v>43660</c:v>
                </c:pt>
                <c:pt idx="348">
                  <c:v>43661</c:v>
                </c:pt>
                <c:pt idx="349">
                  <c:v>43662</c:v>
                </c:pt>
                <c:pt idx="350">
                  <c:v>43663</c:v>
                </c:pt>
                <c:pt idx="351">
                  <c:v>43664</c:v>
                </c:pt>
                <c:pt idx="352">
                  <c:v>43665</c:v>
                </c:pt>
                <c:pt idx="353">
                  <c:v>43666</c:v>
                </c:pt>
                <c:pt idx="354">
                  <c:v>43667</c:v>
                </c:pt>
                <c:pt idx="355">
                  <c:v>43668</c:v>
                </c:pt>
                <c:pt idx="356">
                  <c:v>43669</c:v>
                </c:pt>
                <c:pt idx="357">
                  <c:v>43670</c:v>
                </c:pt>
                <c:pt idx="358">
                  <c:v>43671</c:v>
                </c:pt>
                <c:pt idx="359">
                  <c:v>43672</c:v>
                </c:pt>
                <c:pt idx="360">
                  <c:v>43673</c:v>
                </c:pt>
                <c:pt idx="361">
                  <c:v>43674</c:v>
                </c:pt>
                <c:pt idx="362">
                  <c:v>43675</c:v>
                </c:pt>
                <c:pt idx="363">
                  <c:v>43676</c:v>
                </c:pt>
                <c:pt idx="364">
                  <c:v>43677</c:v>
                </c:pt>
                <c:pt idx="365">
                  <c:v>43678</c:v>
                </c:pt>
                <c:pt idx="366">
                  <c:v>43679</c:v>
                </c:pt>
                <c:pt idx="367">
                  <c:v>43680</c:v>
                </c:pt>
                <c:pt idx="368">
                  <c:v>43681</c:v>
                </c:pt>
                <c:pt idx="369">
                  <c:v>43682</c:v>
                </c:pt>
                <c:pt idx="370">
                  <c:v>43683</c:v>
                </c:pt>
                <c:pt idx="371">
                  <c:v>43684</c:v>
                </c:pt>
                <c:pt idx="372">
                  <c:v>43685</c:v>
                </c:pt>
                <c:pt idx="373">
                  <c:v>43686</c:v>
                </c:pt>
                <c:pt idx="374">
                  <c:v>43687</c:v>
                </c:pt>
                <c:pt idx="375">
                  <c:v>43688</c:v>
                </c:pt>
                <c:pt idx="376">
                  <c:v>43689</c:v>
                </c:pt>
                <c:pt idx="377">
                  <c:v>43690</c:v>
                </c:pt>
                <c:pt idx="378">
                  <c:v>43691</c:v>
                </c:pt>
                <c:pt idx="379">
                  <c:v>43692</c:v>
                </c:pt>
                <c:pt idx="380">
                  <c:v>43693</c:v>
                </c:pt>
                <c:pt idx="381">
                  <c:v>43694</c:v>
                </c:pt>
                <c:pt idx="382">
                  <c:v>43695</c:v>
                </c:pt>
                <c:pt idx="383">
                  <c:v>43696</c:v>
                </c:pt>
                <c:pt idx="384">
                  <c:v>43697</c:v>
                </c:pt>
                <c:pt idx="385">
                  <c:v>43698</c:v>
                </c:pt>
                <c:pt idx="386">
                  <c:v>43699</c:v>
                </c:pt>
                <c:pt idx="387">
                  <c:v>43700</c:v>
                </c:pt>
                <c:pt idx="388">
                  <c:v>43701</c:v>
                </c:pt>
                <c:pt idx="389">
                  <c:v>43702</c:v>
                </c:pt>
                <c:pt idx="390">
                  <c:v>43703</c:v>
                </c:pt>
                <c:pt idx="391">
                  <c:v>43704</c:v>
                </c:pt>
                <c:pt idx="392">
                  <c:v>43705</c:v>
                </c:pt>
                <c:pt idx="393">
                  <c:v>43706</c:v>
                </c:pt>
                <c:pt idx="394">
                  <c:v>43707</c:v>
                </c:pt>
                <c:pt idx="395">
                  <c:v>43708</c:v>
                </c:pt>
                <c:pt idx="396">
                  <c:v>43709</c:v>
                </c:pt>
                <c:pt idx="397">
                  <c:v>43710</c:v>
                </c:pt>
                <c:pt idx="398">
                  <c:v>43711</c:v>
                </c:pt>
                <c:pt idx="399">
                  <c:v>43712</c:v>
                </c:pt>
                <c:pt idx="400">
                  <c:v>43713</c:v>
                </c:pt>
                <c:pt idx="401">
                  <c:v>43714</c:v>
                </c:pt>
                <c:pt idx="402">
                  <c:v>43715</c:v>
                </c:pt>
                <c:pt idx="403">
                  <c:v>43716</c:v>
                </c:pt>
                <c:pt idx="404">
                  <c:v>43717</c:v>
                </c:pt>
                <c:pt idx="405">
                  <c:v>43718</c:v>
                </c:pt>
                <c:pt idx="406">
                  <c:v>43719</c:v>
                </c:pt>
                <c:pt idx="407">
                  <c:v>43720</c:v>
                </c:pt>
                <c:pt idx="408">
                  <c:v>43721</c:v>
                </c:pt>
                <c:pt idx="409">
                  <c:v>43722</c:v>
                </c:pt>
                <c:pt idx="410">
                  <c:v>43723</c:v>
                </c:pt>
                <c:pt idx="411">
                  <c:v>43724</c:v>
                </c:pt>
                <c:pt idx="412">
                  <c:v>43725</c:v>
                </c:pt>
                <c:pt idx="413">
                  <c:v>43726</c:v>
                </c:pt>
                <c:pt idx="414">
                  <c:v>43727</c:v>
                </c:pt>
                <c:pt idx="415">
                  <c:v>43728</c:v>
                </c:pt>
                <c:pt idx="416">
                  <c:v>43729</c:v>
                </c:pt>
                <c:pt idx="417">
                  <c:v>43730</c:v>
                </c:pt>
                <c:pt idx="418">
                  <c:v>43731</c:v>
                </c:pt>
                <c:pt idx="419">
                  <c:v>43732</c:v>
                </c:pt>
                <c:pt idx="420">
                  <c:v>43733</c:v>
                </c:pt>
                <c:pt idx="421">
                  <c:v>43734</c:v>
                </c:pt>
                <c:pt idx="422">
                  <c:v>43735</c:v>
                </c:pt>
                <c:pt idx="423">
                  <c:v>43736</c:v>
                </c:pt>
                <c:pt idx="424">
                  <c:v>43737</c:v>
                </c:pt>
                <c:pt idx="425">
                  <c:v>43738</c:v>
                </c:pt>
                <c:pt idx="426">
                  <c:v>43739</c:v>
                </c:pt>
                <c:pt idx="427">
                  <c:v>43740</c:v>
                </c:pt>
                <c:pt idx="428">
                  <c:v>43741</c:v>
                </c:pt>
                <c:pt idx="429">
                  <c:v>43742</c:v>
                </c:pt>
                <c:pt idx="430">
                  <c:v>43743</c:v>
                </c:pt>
                <c:pt idx="431">
                  <c:v>43744</c:v>
                </c:pt>
                <c:pt idx="432">
                  <c:v>43745</c:v>
                </c:pt>
                <c:pt idx="433">
                  <c:v>43746</c:v>
                </c:pt>
                <c:pt idx="434">
                  <c:v>43747</c:v>
                </c:pt>
                <c:pt idx="435">
                  <c:v>43748</c:v>
                </c:pt>
                <c:pt idx="436">
                  <c:v>43749</c:v>
                </c:pt>
                <c:pt idx="437">
                  <c:v>43750</c:v>
                </c:pt>
                <c:pt idx="438">
                  <c:v>43751</c:v>
                </c:pt>
                <c:pt idx="439">
                  <c:v>43752</c:v>
                </c:pt>
                <c:pt idx="440">
                  <c:v>43753</c:v>
                </c:pt>
                <c:pt idx="441">
                  <c:v>43754</c:v>
                </c:pt>
                <c:pt idx="442">
                  <c:v>43755</c:v>
                </c:pt>
                <c:pt idx="443">
                  <c:v>43756</c:v>
                </c:pt>
                <c:pt idx="444">
                  <c:v>43757</c:v>
                </c:pt>
                <c:pt idx="445">
                  <c:v>43758</c:v>
                </c:pt>
                <c:pt idx="446">
                  <c:v>43759</c:v>
                </c:pt>
                <c:pt idx="447">
                  <c:v>43760</c:v>
                </c:pt>
                <c:pt idx="448">
                  <c:v>43761</c:v>
                </c:pt>
                <c:pt idx="449">
                  <c:v>43762</c:v>
                </c:pt>
                <c:pt idx="450">
                  <c:v>43763</c:v>
                </c:pt>
                <c:pt idx="451">
                  <c:v>43764</c:v>
                </c:pt>
                <c:pt idx="452">
                  <c:v>43765</c:v>
                </c:pt>
                <c:pt idx="453">
                  <c:v>43766</c:v>
                </c:pt>
                <c:pt idx="454">
                  <c:v>43767</c:v>
                </c:pt>
                <c:pt idx="455">
                  <c:v>43768</c:v>
                </c:pt>
                <c:pt idx="456">
                  <c:v>43769</c:v>
                </c:pt>
                <c:pt idx="457">
                  <c:v>43770</c:v>
                </c:pt>
                <c:pt idx="458">
                  <c:v>43771</c:v>
                </c:pt>
                <c:pt idx="459">
                  <c:v>43772</c:v>
                </c:pt>
                <c:pt idx="460">
                  <c:v>43773</c:v>
                </c:pt>
                <c:pt idx="461">
                  <c:v>43774</c:v>
                </c:pt>
                <c:pt idx="462">
                  <c:v>43775</c:v>
                </c:pt>
                <c:pt idx="463">
                  <c:v>43776</c:v>
                </c:pt>
                <c:pt idx="464">
                  <c:v>43777</c:v>
                </c:pt>
                <c:pt idx="465">
                  <c:v>43778</c:v>
                </c:pt>
                <c:pt idx="466">
                  <c:v>43779</c:v>
                </c:pt>
                <c:pt idx="467">
                  <c:v>43780</c:v>
                </c:pt>
                <c:pt idx="468">
                  <c:v>43781</c:v>
                </c:pt>
                <c:pt idx="469">
                  <c:v>43782</c:v>
                </c:pt>
                <c:pt idx="470">
                  <c:v>43783</c:v>
                </c:pt>
                <c:pt idx="471">
                  <c:v>43784</c:v>
                </c:pt>
                <c:pt idx="472">
                  <c:v>43785</c:v>
                </c:pt>
                <c:pt idx="473">
                  <c:v>43786</c:v>
                </c:pt>
                <c:pt idx="474">
                  <c:v>43787</c:v>
                </c:pt>
                <c:pt idx="475">
                  <c:v>43788</c:v>
                </c:pt>
                <c:pt idx="476">
                  <c:v>43789</c:v>
                </c:pt>
                <c:pt idx="477">
                  <c:v>43790</c:v>
                </c:pt>
                <c:pt idx="478">
                  <c:v>43791</c:v>
                </c:pt>
                <c:pt idx="479">
                  <c:v>43792</c:v>
                </c:pt>
                <c:pt idx="480">
                  <c:v>43793</c:v>
                </c:pt>
                <c:pt idx="481">
                  <c:v>43794</c:v>
                </c:pt>
                <c:pt idx="482">
                  <c:v>43795</c:v>
                </c:pt>
                <c:pt idx="483">
                  <c:v>43796</c:v>
                </c:pt>
                <c:pt idx="484">
                  <c:v>43797</c:v>
                </c:pt>
                <c:pt idx="485">
                  <c:v>43798</c:v>
                </c:pt>
                <c:pt idx="486">
                  <c:v>43799</c:v>
                </c:pt>
                <c:pt idx="487">
                  <c:v>43800</c:v>
                </c:pt>
                <c:pt idx="488">
                  <c:v>43801</c:v>
                </c:pt>
                <c:pt idx="489">
                  <c:v>43802</c:v>
                </c:pt>
                <c:pt idx="490">
                  <c:v>43803</c:v>
                </c:pt>
                <c:pt idx="491">
                  <c:v>43804</c:v>
                </c:pt>
                <c:pt idx="492">
                  <c:v>43805</c:v>
                </c:pt>
                <c:pt idx="493">
                  <c:v>43806</c:v>
                </c:pt>
                <c:pt idx="494">
                  <c:v>43807</c:v>
                </c:pt>
                <c:pt idx="495">
                  <c:v>43808</c:v>
                </c:pt>
                <c:pt idx="496">
                  <c:v>43809</c:v>
                </c:pt>
                <c:pt idx="497">
                  <c:v>43810</c:v>
                </c:pt>
                <c:pt idx="498">
                  <c:v>43811</c:v>
                </c:pt>
                <c:pt idx="499">
                  <c:v>43812</c:v>
                </c:pt>
                <c:pt idx="500">
                  <c:v>43813</c:v>
                </c:pt>
                <c:pt idx="501">
                  <c:v>43814</c:v>
                </c:pt>
                <c:pt idx="502">
                  <c:v>43815</c:v>
                </c:pt>
                <c:pt idx="503">
                  <c:v>43816</c:v>
                </c:pt>
                <c:pt idx="504">
                  <c:v>43817</c:v>
                </c:pt>
                <c:pt idx="505">
                  <c:v>43818</c:v>
                </c:pt>
                <c:pt idx="506">
                  <c:v>43819</c:v>
                </c:pt>
                <c:pt idx="507">
                  <c:v>43820</c:v>
                </c:pt>
                <c:pt idx="508">
                  <c:v>43821</c:v>
                </c:pt>
                <c:pt idx="509">
                  <c:v>43822</c:v>
                </c:pt>
                <c:pt idx="510">
                  <c:v>43823</c:v>
                </c:pt>
                <c:pt idx="511">
                  <c:v>43824</c:v>
                </c:pt>
                <c:pt idx="512">
                  <c:v>43825</c:v>
                </c:pt>
                <c:pt idx="513">
                  <c:v>43826</c:v>
                </c:pt>
                <c:pt idx="514">
                  <c:v>43827</c:v>
                </c:pt>
                <c:pt idx="515">
                  <c:v>43828</c:v>
                </c:pt>
                <c:pt idx="516">
                  <c:v>43829</c:v>
                </c:pt>
                <c:pt idx="517">
                  <c:v>43830</c:v>
                </c:pt>
                <c:pt idx="518">
                  <c:v>43831</c:v>
                </c:pt>
                <c:pt idx="519">
                  <c:v>43832</c:v>
                </c:pt>
                <c:pt idx="520">
                  <c:v>43833</c:v>
                </c:pt>
                <c:pt idx="521">
                  <c:v>43834</c:v>
                </c:pt>
                <c:pt idx="522">
                  <c:v>43835</c:v>
                </c:pt>
                <c:pt idx="523">
                  <c:v>43836</c:v>
                </c:pt>
                <c:pt idx="524">
                  <c:v>43837</c:v>
                </c:pt>
                <c:pt idx="525">
                  <c:v>43838</c:v>
                </c:pt>
                <c:pt idx="526">
                  <c:v>43839</c:v>
                </c:pt>
                <c:pt idx="527">
                  <c:v>43840</c:v>
                </c:pt>
                <c:pt idx="528">
                  <c:v>43841</c:v>
                </c:pt>
                <c:pt idx="529">
                  <c:v>43842</c:v>
                </c:pt>
                <c:pt idx="530">
                  <c:v>43843</c:v>
                </c:pt>
                <c:pt idx="531">
                  <c:v>43844</c:v>
                </c:pt>
                <c:pt idx="532">
                  <c:v>43845</c:v>
                </c:pt>
                <c:pt idx="533">
                  <c:v>43846</c:v>
                </c:pt>
                <c:pt idx="534">
                  <c:v>43847</c:v>
                </c:pt>
                <c:pt idx="535">
                  <c:v>43848</c:v>
                </c:pt>
                <c:pt idx="536">
                  <c:v>43849</c:v>
                </c:pt>
                <c:pt idx="537">
                  <c:v>43850</c:v>
                </c:pt>
                <c:pt idx="538">
                  <c:v>43851</c:v>
                </c:pt>
                <c:pt idx="539">
                  <c:v>43852</c:v>
                </c:pt>
                <c:pt idx="540">
                  <c:v>43853</c:v>
                </c:pt>
                <c:pt idx="541">
                  <c:v>43854</c:v>
                </c:pt>
                <c:pt idx="542">
                  <c:v>43855</c:v>
                </c:pt>
                <c:pt idx="543">
                  <c:v>43856</c:v>
                </c:pt>
                <c:pt idx="544">
                  <c:v>43857</c:v>
                </c:pt>
                <c:pt idx="545">
                  <c:v>43858</c:v>
                </c:pt>
                <c:pt idx="546">
                  <c:v>43859</c:v>
                </c:pt>
                <c:pt idx="547">
                  <c:v>43860</c:v>
                </c:pt>
                <c:pt idx="548">
                  <c:v>43861</c:v>
                </c:pt>
                <c:pt idx="549">
                  <c:v>43862</c:v>
                </c:pt>
                <c:pt idx="550">
                  <c:v>43863</c:v>
                </c:pt>
                <c:pt idx="551">
                  <c:v>43864</c:v>
                </c:pt>
                <c:pt idx="552">
                  <c:v>43865</c:v>
                </c:pt>
                <c:pt idx="553">
                  <c:v>43866</c:v>
                </c:pt>
                <c:pt idx="554">
                  <c:v>43867</c:v>
                </c:pt>
                <c:pt idx="555">
                  <c:v>43868</c:v>
                </c:pt>
                <c:pt idx="556">
                  <c:v>43869</c:v>
                </c:pt>
                <c:pt idx="557">
                  <c:v>43870</c:v>
                </c:pt>
                <c:pt idx="558">
                  <c:v>43871</c:v>
                </c:pt>
                <c:pt idx="559">
                  <c:v>43872</c:v>
                </c:pt>
                <c:pt idx="560">
                  <c:v>43873</c:v>
                </c:pt>
                <c:pt idx="561">
                  <c:v>43874</c:v>
                </c:pt>
                <c:pt idx="562">
                  <c:v>43875</c:v>
                </c:pt>
                <c:pt idx="563">
                  <c:v>43876</c:v>
                </c:pt>
                <c:pt idx="564">
                  <c:v>43877</c:v>
                </c:pt>
                <c:pt idx="565">
                  <c:v>43878</c:v>
                </c:pt>
                <c:pt idx="566">
                  <c:v>43879</c:v>
                </c:pt>
                <c:pt idx="567">
                  <c:v>43880</c:v>
                </c:pt>
                <c:pt idx="568">
                  <c:v>43881</c:v>
                </c:pt>
                <c:pt idx="569">
                  <c:v>43882</c:v>
                </c:pt>
                <c:pt idx="570">
                  <c:v>43883</c:v>
                </c:pt>
                <c:pt idx="571">
                  <c:v>43884</c:v>
                </c:pt>
                <c:pt idx="572">
                  <c:v>43885</c:v>
                </c:pt>
                <c:pt idx="573">
                  <c:v>43886</c:v>
                </c:pt>
                <c:pt idx="574">
                  <c:v>43887</c:v>
                </c:pt>
                <c:pt idx="575">
                  <c:v>43888</c:v>
                </c:pt>
                <c:pt idx="576">
                  <c:v>43889</c:v>
                </c:pt>
                <c:pt idx="577">
                  <c:v>43890</c:v>
                </c:pt>
                <c:pt idx="578">
                  <c:v>43891</c:v>
                </c:pt>
                <c:pt idx="579">
                  <c:v>43892</c:v>
                </c:pt>
                <c:pt idx="580">
                  <c:v>43893</c:v>
                </c:pt>
                <c:pt idx="581">
                  <c:v>43894</c:v>
                </c:pt>
                <c:pt idx="582">
                  <c:v>43895</c:v>
                </c:pt>
                <c:pt idx="583">
                  <c:v>43896</c:v>
                </c:pt>
                <c:pt idx="584">
                  <c:v>43897</c:v>
                </c:pt>
                <c:pt idx="585">
                  <c:v>43898</c:v>
                </c:pt>
                <c:pt idx="586">
                  <c:v>43899</c:v>
                </c:pt>
                <c:pt idx="587">
                  <c:v>43900</c:v>
                </c:pt>
                <c:pt idx="588">
                  <c:v>43901</c:v>
                </c:pt>
                <c:pt idx="589">
                  <c:v>43902</c:v>
                </c:pt>
                <c:pt idx="590">
                  <c:v>43903</c:v>
                </c:pt>
                <c:pt idx="591">
                  <c:v>43904</c:v>
                </c:pt>
                <c:pt idx="592">
                  <c:v>43905</c:v>
                </c:pt>
                <c:pt idx="593">
                  <c:v>43906</c:v>
                </c:pt>
                <c:pt idx="594">
                  <c:v>43907</c:v>
                </c:pt>
                <c:pt idx="595">
                  <c:v>43908</c:v>
                </c:pt>
                <c:pt idx="596">
                  <c:v>43909</c:v>
                </c:pt>
                <c:pt idx="597">
                  <c:v>43910</c:v>
                </c:pt>
                <c:pt idx="598">
                  <c:v>43911</c:v>
                </c:pt>
                <c:pt idx="599">
                  <c:v>43912</c:v>
                </c:pt>
                <c:pt idx="600">
                  <c:v>43913</c:v>
                </c:pt>
                <c:pt idx="601">
                  <c:v>43914</c:v>
                </c:pt>
                <c:pt idx="602">
                  <c:v>43915</c:v>
                </c:pt>
                <c:pt idx="603">
                  <c:v>43916</c:v>
                </c:pt>
                <c:pt idx="604">
                  <c:v>43917</c:v>
                </c:pt>
                <c:pt idx="605">
                  <c:v>43918</c:v>
                </c:pt>
                <c:pt idx="606">
                  <c:v>43919</c:v>
                </c:pt>
                <c:pt idx="607">
                  <c:v>43920</c:v>
                </c:pt>
                <c:pt idx="608">
                  <c:v>43921</c:v>
                </c:pt>
                <c:pt idx="609">
                  <c:v>43922</c:v>
                </c:pt>
                <c:pt idx="610">
                  <c:v>43923</c:v>
                </c:pt>
                <c:pt idx="611">
                  <c:v>43924</c:v>
                </c:pt>
                <c:pt idx="612">
                  <c:v>43925</c:v>
                </c:pt>
                <c:pt idx="613">
                  <c:v>43926</c:v>
                </c:pt>
                <c:pt idx="614">
                  <c:v>43927</c:v>
                </c:pt>
                <c:pt idx="615">
                  <c:v>43928</c:v>
                </c:pt>
                <c:pt idx="616">
                  <c:v>43929</c:v>
                </c:pt>
                <c:pt idx="617">
                  <c:v>43930</c:v>
                </c:pt>
                <c:pt idx="618">
                  <c:v>43931</c:v>
                </c:pt>
                <c:pt idx="619">
                  <c:v>43932</c:v>
                </c:pt>
                <c:pt idx="620">
                  <c:v>43933</c:v>
                </c:pt>
                <c:pt idx="621">
                  <c:v>43934</c:v>
                </c:pt>
                <c:pt idx="622">
                  <c:v>43935</c:v>
                </c:pt>
                <c:pt idx="623">
                  <c:v>43936</c:v>
                </c:pt>
                <c:pt idx="624">
                  <c:v>43937</c:v>
                </c:pt>
                <c:pt idx="625">
                  <c:v>43938</c:v>
                </c:pt>
                <c:pt idx="626">
                  <c:v>43939</c:v>
                </c:pt>
                <c:pt idx="627">
                  <c:v>43940</c:v>
                </c:pt>
                <c:pt idx="628">
                  <c:v>43941</c:v>
                </c:pt>
                <c:pt idx="629">
                  <c:v>43942</c:v>
                </c:pt>
                <c:pt idx="630">
                  <c:v>43943</c:v>
                </c:pt>
                <c:pt idx="631">
                  <c:v>43944</c:v>
                </c:pt>
                <c:pt idx="632">
                  <c:v>43945</c:v>
                </c:pt>
                <c:pt idx="633">
                  <c:v>43946</c:v>
                </c:pt>
                <c:pt idx="634">
                  <c:v>43947</c:v>
                </c:pt>
                <c:pt idx="635">
                  <c:v>43948</c:v>
                </c:pt>
                <c:pt idx="636">
                  <c:v>43949</c:v>
                </c:pt>
                <c:pt idx="637">
                  <c:v>43950</c:v>
                </c:pt>
                <c:pt idx="638">
                  <c:v>43951</c:v>
                </c:pt>
                <c:pt idx="639">
                  <c:v>43952</c:v>
                </c:pt>
                <c:pt idx="640">
                  <c:v>43953</c:v>
                </c:pt>
                <c:pt idx="641">
                  <c:v>43954</c:v>
                </c:pt>
                <c:pt idx="642">
                  <c:v>43955</c:v>
                </c:pt>
                <c:pt idx="643">
                  <c:v>43956</c:v>
                </c:pt>
                <c:pt idx="644">
                  <c:v>43957</c:v>
                </c:pt>
                <c:pt idx="645">
                  <c:v>43958</c:v>
                </c:pt>
                <c:pt idx="646">
                  <c:v>43959</c:v>
                </c:pt>
                <c:pt idx="647">
                  <c:v>43960</c:v>
                </c:pt>
                <c:pt idx="648">
                  <c:v>43961</c:v>
                </c:pt>
                <c:pt idx="649">
                  <c:v>43962</c:v>
                </c:pt>
                <c:pt idx="650">
                  <c:v>43963</c:v>
                </c:pt>
                <c:pt idx="651">
                  <c:v>43964</c:v>
                </c:pt>
                <c:pt idx="652">
                  <c:v>43965</c:v>
                </c:pt>
                <c:pt idx="653">
                  <c:v>43966</c:v>
                </c:pt>
                <c:pt idx="654">
                  <c:v>43967</c:v>
                </c:pt>
                <c:pt idx="655">
                  <c:v>43968</c:v>
                </c:pt>
                <c:pt idx="656">
                  <c:v>43969</c:v>
                </c:pt>
                <c:pt idx="657">
                  <c:v>43970</c:v>
                </c:pt>
                <c:pt idx="658">
                  <c:v>43971</c:v>
                </c:pt>
                <c:pt idx="659">
                  <c:v>43972</c:v>
                </c:pt>
                <c:pt idx="660">
                  <c:v>43973</c:v>
                </c:pt>
                <c:pt idx="661">
                  <c:v>43974</c:v>
                </c:pt>
                <c:pt idx="662">
                  <c:v>43975</c:v>
                </c:pt>
                <c:pt idx="663">
                  <c:v>43976</c:v>
                </c:pt>
                <c:pt idx="664">
                  <c:v>43977</c:v>
                </c:pt>
                <c:pt idx="665">
                  <c:v>43978</c:v>
                </c:pt>
                <c:pt idx="666">
                  <c:v>43979</c:v>
                </c:pt>
                <c:pt idx="667">
                  <c:v>43980</c:v>
                </c:pt>
                <c:pt idx="668">
                  <c:v>43981</c:v>
                </c:pt>
                <c:pt idx="669">
                  <c:v>43982</c:v>
                </c:pt>
                <c:pt idx="670">
                  <c:v>43983</c:v>
                </c:pt>
                <c:pt idx="671">
                  <c:v>43984</c:v>
                </c:pt>
                <c:pt idx="672">
                  <c:v>43985</c:v>
                </c:pt>
                <c:pt idx="673">
                  <c:v>43986</c:v>
                </c:pt>
                <c:pt idx="674">
                  <c:v>43987</c:v>
                </c:pt>
                <c:pt idx="675">
                  <c:v>43988</c:v>
                </c:pt>
                <c:pt idx="676">
                  <c:v>43989</c:v>
                </c:pt>
                <c:pt idx="677">
                  <c:v>43990</c:v>
                </c:pt>
                <c:pt idx="678">
                  <c:v>43991</c:v>
                </c:pt>
                <c:pt idx="679">
                  <c:v>43992</c:v>
                </c:pt>
                <c:pt idx="680">
                  <c:v>43993</c:v>
                </c:pt>
                <c:pt idx="681">
                  <c:v>43994</c:v>
                </c:pt>
                <c:pt idx="682">
                  <c:v>43995</c:v>
                </c:pt>
                <c:pt idx="683">
                  <c:v>43996</c:v>
                </c:pt>
                <c:pt idx="684">
                  <c:v>43997</c:v>
                </c:pt>
                <c:pt idx="685">
                  <c:v>43998</c:v>
                </c:pt>
                <c:pt idx="686">
                  <c:v>43999</c:v>
                </c:pt>
                <c:pt idx="687">
                  <c:v>44000</c:v>
                </c:pt>
                <c:pt idx="688">
                  <c:v>44001</c:v>
                </c:pt>
                <c:pt idx="689">
                  <c:v>44002</c:v>
                </c:pt>
                <c:pt idx="690">
                  <c:v>44003</c:v>
                </c:pt>
                <c:pt idx="691">
                  <c:v>44004</c:v>
                </c:pt>
                <c:pt idx="692">
                  <c:v>44005</c:v>
                </c:pt>
                <c:pt idx="693">
                  <c:v>44006</c:v>
                </c:pt>
                <c:pt idx="694">
                  <c:v>44007</c:v>
                </c:pt>
                <c:pt idx="695">
                  <c:v>44008</c:v>
                </c:pt>
                <c:pt idx="696">
                  <c:v>44009</c:v>
                </c:pt>
                <c:pt idx="697">
                  <c:v>44010</c:v>
                </c:pt>
                <c:pt idx="698">
                  <c:v>44011</c:v>
                </c:pt>
                <c:pt idx="699">
                  <c:v>44012</c:v>
                </c:pt>
                <c:pt idx="700">
                  <c:v>44013</c:v>
                </c:pt>
                <c:pt idx="701">
                  <c:v>44014</c:v>
                </c:pt>
                <c:pt idx="702">
                  <c:v>44015</c:v>
                </c:pt>
                <c:pt idx="703">
                  <c:v>44016</c:v>
                </c:pt>
                <c:pt idx="704">
                  <c:v>44017</c:v>
                </c:pt>
                <c:pt idx="705">
                  <c:v>44018</c:v>
                </c:pt>
                <c:pt idx="706">
                  <c:v>44019</c:v>
                </c:pt>
                <c:pt idx="707">
                  <c:v>44020</c:v>
                </c:pt>
                <c:pt idx="708">
                  <c:v>44021</c:v>
                </c:pt>
                <c:pt idx="709">
                  <c:v>44022</c:v>
                </c:pt>
                <c:pt idx="710">
                  <c:v>44023</c:v>
                </c:pt>
                <c:pt idx="711">
                  <c:v>44024</c:v>
                </c:pt>
                <c:pt idx="712">
                  <c:v>44025</c:v>
                </c:pt>
                <c:pt idx="713">
                  <c:v>44026</c:v>
                </c:pt>
                <c:pt idx="714">
                  <c:v>44027</c:v>
                </c:pt>
                <c:pt idx="715">
                  <c:v>44028</c:v>
                </c:pt>
                <c:pt idx="716">
                  <c:v>44029</c:v>
                </c:pt>
                <c:pt idx="717">
                  <c:v>44030</c:v>
                </c:pt>
                <c:pt idx="718">
                  <c:v>44031</c:v>
                </c:pt>
                <c:pt idx="719">
                  <c:v>44032</c:v>
                </c:pt>
                <c:pt idx="720">
                  <c:v>44033</c:v>
                </c:pt>
                <c:pt idx="721">
                  <c:v>44034</c:v>
                </c:pt>
                <c:pt idx="722">
                  <c:v>44035</c:v>
                </c:pt>
                <c:pt idx="723">
                  <c:v>44036</c:v>
                </c:pt>
                <c:pt idx="724">
                  <c:v>44037</c:v>
                </c:pt>
                <c:pt idx="725">
                  <c:v>44038</c:v>
                </c:pt>
                <c:pt idx="726">
                  <c:v>44039</c:v>
                </c:pt>
                <c:pt idx="727">
                  <c:v>44040</c:v>
                </c:pt>
                <c:pt idx="728">
                  <c:v>44041</c:v>
                </c:pt>
                <c:pt idx="729">
                  <c:v>44042</c:v>
                </c:pt>
                <c:pt idx="730">
                  <c:v>44043</c:v>
                </c:pt>
                <c:pt idx="731">
                  <c:v>44044</c:v>
                </c:pt>
                <c:pt idx="732">
                  <c:v>44045</c:v>
                </c:pt>
                <c:pt idx="733">
                  <c:v>44046</c:v>
                </c:pt>
                <c:pt idx="734">
                  <c:v>44047</c:v>
                </c:pt>
                <c:pt idx="735">
                  <c:v>44048</c:v>
                </c:pt>
                <c:pt idx="736">
                  <c:v>44049</c:v>
                </c:pt>
                <c:pt idx="737">
                  <c:v>44050</c:v>
                </c:pt>
                <c:pt idx="738">
                  <c:v>44051</c:v>
                </c:pt>
                <c:pt idx="739">
                  <c:v>44052</c:v>
                </c:pt>
                <c:pt idx="740">
                  <c:v>44053</c:v>
                </c:pt>
                <c:pt idx="741">
                  <c:v>44054</c:v>
                </c:pt>
                <c:pt idx="742">
                  <c:v>44055</c:v>
                </c:pt>
                <c:pt idx="743">
                  <c:v>44056</c:v>
                </c:pt>
                <c:pt idx="744">
                  <c:v>44057</c:v>
                </c:pt>
                <c:pt idx="745">
                  <c:v>44058</c:v>
                </c:pt>
                <c:pt idx="746">
                  <c:v>44059</c:v>
                </c:pt>
                <c:pt idx="747">
                  <c:v>44060</c:v>
                </c:pt>
                <c:pt idx="748">
                  <c:v>44061</c:v>
                </c:pt>
                <c:pt idx="749">
                  <c:v>44062</c:v>
                </c:pt>
                <c:pt idx="750">
                  <c:v>44063</c:v>
                </c:pt>
                <c:pt idx="751">
                  <c:v>44064</c:v>
                </c:pt>
                <c:pt idx="752">
                  <c:v>44065</c:v>
                </c:pt>
                <c:pt idx="753">
                  <c:v>44066</c:v>
                </c:pt>
                <c:pt idx="754">
                  <c:v>44067</c:v>
                </c:pt>
                <c:pt idx="755">
                  <c:v>44068</c:v>
                </c:pt>
                <c:pt idx="756">
                  <c:v>44069</c:v>
                </c:pt>
                <c:pt idx="757">
                  <c:v>44070</c:v>
                </c:pt>
                <c:pt idx="758">
                  <c:v>44071</c:v>
                </c:pt>
                <c:pt idx="759">
                  <c:v>44072</c:v>
                </c:pt>
                <c:pt idx="760">
                  <c:v>44073</c:v>
                </c:pt>
                <c:pt idx="761">
                  <c:v>44074</c:v>
                </c:pt>
                <c:pt idx="762">
                  <c:v>44075</c:v>
                </c:pt>
                <c:pt idx="763">
                  <c:v>44076</c:v>
                </c:pt>
                <c:pt idx="764">
                  <c:v>44077</c:v>
                </c:pt>
                <c:pt idx="765">
                  <c:v>44078</c:v>
                </c:pt>
                <c:pt idx="766">
                  <c:v>44079</c:v>
                </c:pt>
                <c:pt idx="767">
                  <c:v>44080</c:v>
                </c:pt>
                <c:pt idx="768">
                  <c:v>44081</c:v>
                </c:pt>
                <c:pt idx="769">
                  <c:v>44082</c:v>
                </c:pt>
                <c:pt idx="770">
                  <c:v>44083</c:v>
                </c:pt>
                <c:pt idx="771">
                  <c:v>44084</c:v>
                </c:pt>
                <c:pt idx="772">
                  <c:v>44085</c:v>
                </c:pt>
                <c:pt idx="773">
                  <c:v>44086</c:v>
                </c:pt>
                <c:pt idx="774">
                  <c:v>44087</c:v>
                </c:pt>
                <c:pt idx="775">
                  <c:v>44088</c:v>
                </c:pt>
                <c:pt idx="776">
                  <c:v>44089</c:v>
                </c:pt>
                <c:pt idx="777">
                  <c:v>44090</c:v>
                </c:pt>
                <c:pt idx="778">
                  <c:v>44091</c:v>
                </c:pt>
                <c:pt idx="779">
                  <c:v>44092</c:v>
                </c:pt>
                <c:pt idx="780">
                  <c:v>44093</c:v>
                </c:pt>
                <c:pt idx="781">
                  <c:v>44094</c:v>
                </c:pt>
                <c:pt idx="782">
                  <c:v>44095</c:v>
                </c:pt>
                <c:pt idx="783">
                  <c:v>44096</c:v>
                </c:pt>
                <c:pt idx="784">
                  <c:v>44097</c:v>
                </c:pt>
                <c:pt idx="785">
                  <c:v>44098</c:v>
                </c:pt>
                <c:pt idx="786">
                  <c:v>44099</c:v>
                </c:pt>
                <c:pt idx="787">
                  <c:v>44100</c:v>
                </c:pt>
                <c:pt idx="788">
                  <c:v>44101</c:v>
                </c:pt>
                <c:pt idx="789">
                  <c:v>44102</c:v>
                </c:pt>
                <c:pt idx="790">
                  <c:v>44103</c:v>
                </c:pt>
                <c:pt idx="791">
                  <c:v>44104</c:v>
                </c:pt>
                <c:pt idx="792">
                  <c:v>44105</c:v>
                </c:pt>
                <c:pt idx="793">
                  <c:v>44106</c:v>
                </c:pt>
                <c:pt idx="794">
                  <c:v>44107</c:v>
                </c:pt>
                <c:pt idx="795">
                  <c:v>44108</c:v>
                </c:pt>
                <c:pt idx="796">
                  <c:v>44109</c:v>
                </c:pt>
                <c:pt idx="797">
                  <c:v>44110</c:v>
                </c:pt>
                <c:pt idx="798">
                  <c:v>44111</c:v>
                </c:pt>
                <c:pt idx="799">
                  <c:v>44112</c:v>
                </c:pt>
                <c:pt idx="800">
                  <c:v>44113</c:v>
                </c:pt>
                <c:pt idx="801">
                  <c:v>44114</c:v>
                </c:pt>
                <c:pt idx="802">
                  <c:v>44115</c:v>
                </c:pt>
                <c:pt idx="803">
                  <c:v>44116</c:v>
                </c:pt>
                <c:pt idx="804">
                  <c:v>44117</c:v>
                </c:pt>
                <c:pt idx="805">
                  <c:v>44118</c:v>
                </c:pt>
                <c:pt idx="806">
                  <c:v>44119</c:v>
                </c:pt>
                <c:pt idx="807">
                  <c:v>44120</c:v>
                </c:pt>
                <c:pt idx="808">
                  <c:v>44121</c:v>
                </c:pt>
                <c:pt idx="809">
                  <c:v>44122</c:v>
                </c:pt>
                <c:pt idx="810">
                  <c:v>44123</c:v>
                </c:pt>
                <c:pt idx="811">
                  <c:v>44124</c:v>
                </c:pt>
                <c:pt idx="812">
                  <c:v>44125</c:v>
                </c:pt>
                <c:pt idx="813">
                  <c:v>44126</c:v>
                </c:pt>
                <c:pt idx="814">
                  <c:v>44127</c:v>
                </c:pt>
                <c:pt idx="815">
                  <c:v>44128</c:v>
                </c:pt>
                <c:pt idx="816">
                  <c:v>44129</c:v>
                </c:pt>
                <c:pt idx="817">
                  <c:v>44130</c:v>
                </c:pt>
                <c:pt idx="818">
                  <c:v>44131</c:v>
                </c:pt>
                <c:pt idx="819">
                  <c:v>44132</c:v>
                </c:pt>
                <c:pt idx="820">
                  <c:v>44133</c:v>
                </c:pt>
                <c:pt idx="821">
                  <c:v>44134</c:v>
                </c:pt>
                <c:pt idx="822">
                  <c:v>44135</c:v>
                </c:pt>
                <c:pt idx="823">
                  <c:v>44136</c:v>
                </c:pt>
                <c:pt idx="824">
                  <c:v>44137</c:v>
                </c:pt>
                <c:pt idx="825">
                  <c:v>44138</c:v>
                </c:pt>
                <c:pt idx="826">
                  <c:v>44139</c:v>
                </c:pt>
                <c:pt idx="827">
                  <c:v>44140</c:v>
                </c:pt>
                <c:pt idx="828">
                  <c:v>44141</c:v>
                </c:pt>
                <c:pt idx="829">
                  <c:v>44142</c:v>
                </c:pt>
                <c:pt idx="830">
                  <c:v>44143</c:v>
                </c:pt>
                <c:pt idx="831">
                  <c:v>44144</c:v>
                </c:pt>
                <c:pt idx="832">
                  <c:v>44145</c:v>
                </c:pt>
                <c:pt idx="833">
                  <c:v>44146</c:v>
                </c:pt>
                <c:pt idx="834">
                  <c:v>44147</c:v>
                </c:pt>
                <c:pt idx="835">
                  <c:v>44148</c:v>
                </c:pt>
                <c:pt idx="836">
                  <c:v>44149</c:v>
                </c:pt>
                <c:pt idx="837">
                  <c:v>44150</c:v>
                </c:pt>
                <c:pt idx="838">
                  <c:v>44151</c:v>
                </c:pt>
                <c:pt idx="839">
                  <c:v>44152</c:v>
                </c:pt>
                <c:pt idx="840">
                  <c:v>44153</c:v>
                </c:pt>
                <c:pt idx="841">
                  <c:v>44154</c:v>
                </c:pt>
                <c:pt idx="842">
                  <c:v>44155</c:v>
                </c:pt>
                <c:pt idx="843">
                  <c:v>44156</c:v>
                </c:pt>
                <c:pt idx="844">
                  <c:v>44157</c:v>
                </c:pt>
                <c:pt idx="845">
                  <c:v>44158</c:v>
                </c:pt>
                <c:pt idx="846">
                  <c:v>44159</c:v>
                </c:pt>
                <c:pt idx="847">
                  <c:v>44160</c:v>
                </c:pt>
                <c:pt idx="848">
                  <c:v>44161</c:v>
                </c:pt>
                <c:pt idx="849">
                  <c:v>44162</c:v>
                </c:pt>
                <c:pt idx="850">
                  <c:v>44163</c:v>
                </c:pt>
                <c:pt idx="851">
                  <c:v>44164</c:v>
                </c:pt>
                <c:pt idx="852">
                  <c:v>44165</c:v>
                </c:pt>
                <c:pt idx="853">
                  <c:v>44166</c:v>
                </c:pt>
                <c:pt idx="854">
                  <c:v>44167</c:v>
                </c:pt>
                <c:pt idx="855">
                  <c:v>44168</c:v>
                </c:pt>
                <c:pt idx="856">
                  <c:v>44169</c:v>
                </c:pt>
                <c:pt idx="857">
                  <c:v>44170</c:v>
                </c:pt>
                <c:pt idx="858">
                  <c:v>44171</c:v>
                </c:pt>
                <c:pt idx="859">
                  <c:v>44172</c:v>
                </c:pt>
                <c:pt idx="860">
                  <c:v>44173</c:v>
                </c:pt>
                <c:pt idx="861">
                  <c:v>44174</c:v>
                </c:pt>
                <c:pt idx="862">
                  <c:v>44175</c:v>
                </c:pt>
                <c:pt idx="863">
                  <c:v>44176</c:v>
                </c:pt>
                <c:pt idx="864">
                  <c:v>44177</c:v>
                </c:pt>
                <c:pt idx="865">
                  <c:v>44178</c:v>
                </c:pt>
                <c:pt idx="866">
                  <c:v>44179</c:v>
                </c:pt>
                <c:pt idx="867">
                  <c:v>44180</c:v>
                </c:pt>
                <c:pt idx="868">
                  <c:v>44181</c:v>
                </c:pt>
                <c:pt idx="869">
                  <c:v>44182</c:v>
                </c:pt>
                <c:pt idx="870">
                  <c:v>44183</c:v>
                </c:pt>
                <c:pt idx="871">
                  <c:v>44184</c:v>
                </c:pt>
                <c:pt idx="872">
                  <c:v>44185</c:v>
                </c:pt>
                <c:pt idx="873">
                  <c:v>44186</c:v>
                </c:pt>
                <c:pt idx="874">
                  <c:v>44187</c:v>
                </c:pt>
                <c:pt idx="875">
                  <c:v>44188</c:v>
                </c:pt>
                <c:pt idx="876">
                  <c:v>44189</c:v>
                </c:pt>
                <c:pt idx="877">
                  <c:v>44190</c:v>
                </c:pt>
                <c:pt idx="878">
                  <c:v>44191</c:v>
                </c:pt>
                <c:pt idx="879">
                  <c:v>44192</c:v>
                </c:pt>
                <c:pt idx="880">
                  <c:v>44193</c:v>
                </c:pt>
                <c:pt idx="881">
                  <c:v>44194</c:v>
                </c:pt>
                <c:pt idx="882">
                  <c:v>44195</c:v>
                </c:pt>
                <c:pt idx="883">
                  <c:v>44196</c:v>
                </c:pt>
                <c:pt idx="884">
                  <c:v>44197</c:v>
                </c:pt>
                <c:pt idx="885">
                  <c:v>44198</c:v>
                </c:pt>
                <c:pt idx="886">
                  <c:v>44199</c:v>
                </c:pt>
                <c:pt idx="887">
                  <c:v>44200</c:v>
                </c:pt>
                <c:pt idx="888">
                  <c:v>44201</c:v>
                </c:pt>
                <c:pt idx="889">
                  <c:v>44202</c:v>
                </c:pt>
                <c:pt idx="890">
                  <c:v>44203</c:v>
                </c:pt>
                <c:pt idx="891">
                  <c:v>44204</c:v>
                </c:pt>
                <c:pt idx="892">
                  <c:v>44205</c:v>
                </c:pt>
                <c:pt idx="893">
                  <c:v>44206</c:v>
                </c:pt>
                <c:pt idx="894">
                  <c:v>44207</c:v>
                </c:pt>
                <c:pt idx="895">
                  <c:v>44208</c:v>
                </c:pt>
                <c:pt idx="896">
                  <c:v>44209</c:v>
                </c:pt>
                <c:pt idx="897">
                  <c:v>44210</c:v>
                </c:pt>
                <c:pt idx="898">
                  <c:v>44211</c:v>
                </c:pt>
                <c:pt idx="899">
                  <c:v>44212</c:v>
                </c:pt>
                <c:pt idx="900">
                  <c:v>44213</c:v>
                </c:pt>
                <c:pt idx="901">
                  <c:v>44214</c:v>
                </c:pt>
                <c:pt idx="902">
                  <c:v>44215</c:v>
                </c:pt>
                <c:pt idx="903">
                  <c:v>44216</c:v>
                </c:pt>
                <c:pt idx="904">
                  <c:v>44217</c:v>
                </c:pt>
                <c:pt idx="905">
                  <c:v>44218</c:v>
                </c:pt>
                <c:pt idx="906">
                  <c:v>44219</c:v>
                </c:pt>
                <c:pt idx="907">
                  <c:v>44220</c:v>
                </c:pt>
                <c:pt idx="908">
                  <c:v>44221</c:v>
                </c:pt>
                <c:pt idx="909">
                  <c:v>44222</c:v>
                </c:pt>
                <c:pt idx="910">
                  <c:v>44223</c:v>
                </c:pt>
                <c:pt idx="911">
                  <c:v>44224</c:v>
                </c:pt>
                <c:pt idx="912">
                  <c:v>44225</c:v>
                </c:pt>
                <c:pt idx="913">
                  <c:v>44226</c:v>
                </c:pt>
                <c:pt idx="914">
                  <c:v>44227</c:v>
                </c:pt>
                <c:pt idx="915">
                  <c:v>44228</c:v>
                </c:pt>
                <c:pt idx="916">
                  <c:v>44229</c:v>
                </c:pt>
                <c:pt idx="917">
                  <c:v>44230</c:v>
                </c:pt>
                <c:pt idx="918">
                  <c:v>44231</c:v>
                </c:pt>
                <c:pt idx="919">
                  <c:v>44232</c:v>
                </c:pt>
                <c:pt idx="920">
                  <c:v>44233</c:v>
                </c:pt>
                <c:pt idx="921">
                  <c:v>44234</c:v>
                </c:pt>
                <c:pt idx="922">
                  <c:v>44235</c:v>
                </c:pt>
                <c:pt idx="923">
                  <c:v>44236</c:v>
                </c:pt>
                <c:pt idx="924">
                  <c:v>44237</c:v>
                </c:pt>
                <c:pt idx="925">
                  <c:v>44238</c:v>
                </c:pt>
                <c:pt idx="926">
                  <c:v>44239</c:v>
                </c:pt>
                <c:pt idx="927">
                  <c:v>44240</c:v>
                </c:pt>
                <c:pt idx="928">
                  <c:v>44241</c:v>
                </c:pt>
                <c:pt idx="929">
                  <c:v>44242</c:v>
                </c:pt>
                <c:pt idx="930">
                  <c:v>44243</c:v>
                </c:pt>
                <c:pt idx="931">
                  <c:v>44244</c:v>
                </c:pt>
                <c:pt idx="932">
                  <c:v>44245</c:v>
                </c:pt>
                <c:pt idx="933">
                  <c:v>44246</c:v>
                </c:pt>
                <c:pt idx="934">
                  <c:v>44247</c:v>
                </c:pt>
                <c:pt idx="935">
                  <c:v>44248</c:v>
                </c:pt>
                <c:pt idx="936">
                  <c:v>44249</c:v>
                </c:pt>
                <c:pt idx="937">
                  <c:v>44250</c:v>
                </c:pt>
                <c:pt idx="938">
                  <c:v>44251</c:v>
                </c:pt>
                <c:pt idx="939">
                  <c:v>44252</c:v>
                </c:pt>
                <c:pt idx="940">
                  <c:v>44253</c:v>
                </c:pt>
                <c:pt idx="941">
                  <c:v>44254</c:v>
                </c:pt>
                <c:pt idx="942">
                  <c:v>44255</c:v>
                </c:pt>
                <c:pt idx="943">
                  <c:v>44256</c:v>
                </c:pt>
                <c:pt idx="944">
                  <c:v>44257</c:v>
                </c:pt>
                <c:pt idx="945">
                  <c:v>44258</c:v>
                </c:pt>
                <c:pt idx="946">
                  <c:v>44259</c:v>
                </c:pt>
                <c:pt idx="947">
                  <c:v>44260</c:v>
                </c:pt>
                <c:pt idx="948">
                  <c:v>44261</c:v>
                </c:pt>
                <c:pt idx="949">
                  <c:v>44262</c:v>
                </c:pt>
                <c:pt idx="950">
                  <c:v>44263</c:v>
                </c:pt>
                <c:pt idx="951">
                  <c:v>44264</c:v>
                </c:pt>
                <c:pt idx="952">
                  <c:v>44265</c:v>
                </c:pt>
                <c:pt idx="953">
                  <c:v>44266</c:v>
                </c:pt>
                <c:pt idx="954">
                  <c:v>44267</c:v>
                </c:pt>
                <c:pt idx="955">
                  <c:v>44268</c:v>
                </c:pt>
                <c:pt idx="956">
                  <c:v>44269</c:v>
                </c:pt>
                <c:pt idx="957">
                  <c:v>44270</c:v>
                </c:pt>
                <c:pt idx="958">
                  <c:v>44271</c:v>
                </c:pt>
                <c:pt idx="959">
                  <c:v>44272</c:v>
                </c:pt>
                <c:pt idx="960">
                  <c:v>44273</c:v>
                </c:pt>
                <c:pt idx="961">
                  <c:v>44274</c:v>
                </c:pt>
                <c:pt idx="962">
                  <c:v>44275</c:v>
                </c:pt>
                <c:pt idx="963">
                  <c:v>44276</c:v>
                </c:pt>
                <c:pt idx="964">
                  <c:v>44277</c:v>
                </c:pt>
                <c:pt idx="965">
                  <c:v>44278</c:v>
                </c:pt>
                <c:pt idx="966">
                  <c:v>44279</c:v>
                </c:pt>
                <c:pt idx="967">
                  <c:v>44280</c:v>
                </c:pt>
                <c:pt idx="968">
                  <c:v>44281</c:v>
                </c:pt>
                <c:pt idx="969">
                  <c:v>44282</c:v>
                </c:pt>
                <c:pt idx="970">
                  <c:v>44283</c:v>
                </c:pt>
                <c:pt idx="971">
                  <c:v>44284</c:v>
                </c:pt>
                <c:pt idx="972">
                  <c:v>44285</c:v>
                </c:pt>
                <c:pt idx="973">
                  <c:v>44286</c:v>
                </c:pt>
                <c:pt idx="974">
                  <c:v>44287</c:v>
                </c:pt>
                <c:pt idx="975">
                  <c:v>44288</c:v>
                </c:pt>
                <c:pt idx="976">
                  <c:v>44289</c:v>
                </c:pt>
                <c:pt idx="977">
                  <c:v>44290</c:v>
                </c:pt>
                <c:pt idx="978">
                  <c:v>44291</c:v>
                </c:pt>
                <c:pt idx="979">
                  <c:v>44292</c:v>
                </c:pt>
                <c:pt idx="980">
                  <c:v>44293</c:v>
                </c:pt>
                <c:pt idx="981">
                  <c:v>44294</c:v>
                </c:pt>
                <c:pt idx="982">
                  <c:v>44295</c:v>
                </c:pt>
                <c:pt idx="983">
                  <c:v>44296</c:v>
                </c:pt>
                <c:pt idx="984">
                  <c:v>44297</c:v>
                </c:pt>
                <c:pt idx="985">
                  <c:v>44298</c:v>
                </c:pt>
                <c:pt idx="986">
                  <c:v>44299</c:v>
                </c:pt>
                <c:pt idx="987">
                  <c:v>44300</c:v>
                </c:pt>
                <c:pt idx="988">
                  <c:v>44301</c:v>
                </c:pt>
                <c:pt idx="989">
                  <c:v>44302</c:v>
                </c:pt>
                <c:pt idx="990">
                  <c:v>44303</c:v>
                </c:pt>
                <c:pt idx="991">
                  <c:v>44304</c:v>
                </c:pt>
                <c:pt idx="992">
                  <c:v>44305</c:v>
                </c:pt>
                <c:pt idx="993">
                  <c:v>44306</c:v>
                </c:pt>
                <c:pt idx="994">
                  <c:v>44307</c:v>
                </c:pt>
                <c:pt idx="995">
                  <c:v>44308</c:v>
                </c:pt>
                <c:pt idx="996">
                  <c:v>44309</c:v>
                </c:pt>
                <c:pt idx="997">
                  <c:v>44310</c:v>
                </c:pt>
                <c:pt idx="998">
                  <c:v>44311</c:v>
                </c:pt>
                <c:pt idx="999">
                  <c:v>44312</c:v>
                </c:pt>
                <c:pt idx="1000">
                  <c:v>44313</c:v>
                </c:pt>
                <c:pt idx="1001">
                  <c:v>44314</c:v>
                </c:pt>
                <c:pt idx="1002">
                  <c:v>44315</c:v>
                </c:pt>
                <c:pt idx="1003">
                  <c:v>44316</c:v>
                </c:pt>
                <c:pt idx="1004">
                  <c:v>44317</c:v>
                </c:pt>
                <c:pt idx="1005">
                  <c:v>44318</c:v>
                </c:pt>
                <c:pt idx="1006">
                  <c:v>44319</c:v>
                </c:pt>
                <c:pt idx="1007">
                  <c:v>44320</c:v>
                </c:pt>
                <c:pt idx="1008">
                  <c:v>44321</c:v>
                </c:pt>
                <c:pt idx="1009">
                  <c:v>44322</c:v>
                </c:pt>
                <c:pt idx="1010">
                  <c:v>44323</c:v>
                </c:pt>
                <c:pt idx="1011">
                  <c:v>44324</c:v>
                </c:pt>
                <c:pt idx="1012">
                  <c:v>44325</c:v>
                </c:pt>
                <c:pt idx="1013">
                  <c:v>44326</c:v>
                </c:pt>
                <c:pt idx="1014">
                  <c:v>44327</c:v>
                </c:pt>
                <c:pt idx="1015">
                  <c:v>44328</c:v>
                </c:pt>
                <c:pt idx="1016">
                  <c:v>44329</c:v>
                </c:pt>
                <c:pt idx="1017">
                  <c:v>44330</c:v>
                </c:pt>
                <c:pt idx="1018">
                  <c:v>44331</c:v>
                </c:pt>
                <c:pt idx="1019">
                  <c:v>44332</c:v>
                </c:pt>
                <c:pt idx="1020">
                  <c:v>44333</c:v>
                </c:pt>
                <c:pt idx="1021">
                  <c:v>44334</c:v>
                </c:pt>
                <c:pt idx="1022">
                  <c:v>44335</c:v>
                </c:pt>
                <c:pt idx="1023">
                  <c:v>44336</c:v>
                </c:pt>
                <c:pt idx="1024">
                  <c:v>44337</c:v>
                </c:pt>
                <c:pt idx="1025">
                  <c:v>44338</c:v>
                </c:pt>
                <c:pt idx="1026">
                  <c:v>44339</c:v>
                </c:pt>
                <c:pt idx="1027">
                  <c:v>44340</c:v>
                </c:pt>
                <c:pt idx="1028">
                  <c:v>44341</c:v>
                </c:pt>
                <c:pt idx="1029">
                  <c:v>44342</c:v>
                </c:pt>
                <c:pt idx="1030">
                  <c:v>44343</c:v>
                </c:pt>
                <c:pt idx="1031">
                  <c:v>44344</c:v>
                </c:pt>
                <c:pt idx="1032">
                  <c:v>44345</c:v>
                </c:pt>
                <c:pt idx="1033">
                  <c:v>44346</c:v>
                </c:pt>
                <c:pt idx="1034">
                  <c:v>44347</c:v>
                </c:pt>
                <c:pt idx="1035">
                  <c:v>44348</c:v>
                </c:pt>
                <c:pt idx="1036">
                  <c:v>44349</c:v>
                </c:pt>
                <c:pt idx="1037">
                  <c:v>44350</c:v>
                </c:pt>
                <c:pt idx="1038">
                  <c:v>44351</c:v>
                </c:pt>
                <c:pt idx="1039">
                  <c:v>44352</c:v>
                </c:pt>
                <c:pt idx="1040">
                  <c:v>44353</c:v>
                </c:pt>
                <c:pt idx="1041">
                  <c:v>44354</c:v>
                </c:pt>
                <c:pt idx="1042">
                  <c:v>44355</c:v>
                </c:pt>
                <c:pt idx="1043">
                  <c:v>44356</c:v>
                </c:pt>
                <c:pt idx="1044">
                  <c:v>44357</c:v>
                </c:pt>
                <c:pt idx="1045">
                  <c:v>44358</c:v>
                </c:pt>
                <c:pt idx="1046">
                  <c:v>44359</c:v>
                </c:pt>
                <c:pt idx="1047">
                  <c:v>44360</c:v>
                </c:pt>
                <c:pt idx="1048">
                  <c:v>44361</c:v>
                </c:pt>
                <c:pt idx="1049">
                  <c:v>44362</c:v>
                </c:pt>
                <c:pt idx="1050">
                  <c:v>44363</c:v>
                </c:pt>
                <c:pt idx="1051">
                  <c:v>44364</c:v>
                </c:pt>
                <c:pt idx="1052">
                  <c:v>44365</c:v>
                </c:pt>
                <c:pt idx="1053">
                  <c:v>44366</c:v>
                </c:pt>
                <c:pt idx="1054">
                  <c:v>44367</c:v>
                </c:pt>
                <c:pt idx="1055">
                  <c:v>44368</c:v>
                </c:pt>
                <c:pt idx="1056">
                  <c:v>44369</c:v>
                </c:pt>
                <c:pt idx="1057">
                  <c:v>44370</c:v>
                </c:pt>
                <c:pt idx="1058">
                  <c:v>44371</c:v>
                </c:pt>
                <c:pt idx="1059">
                  <c:v>44372</c:v>
                </c:pt>
                <c:pt idx="1060">
                  <c:v>44373</c:v>
                </c:pt>
                <c:pt idx="1061">
                  <c:v>44374</c:v>
                </c:pt>
                <c:pt idx="1062">
                  <c:v>44375</c:v>
                </c:pt>
                <c:pt idx="1063">
                  <c:v>44376</c:v>
                </c:pt>
                <c:pt idx="1064">
                  <c:v>44377</c:v>
                </c:pt>
                <c:pt idx="1065">
                  <c:v>44378</c:v>
                </c:pt>
                <c:pt idx="1066">
                  <c:v>44379</c:v>
                </c:pt>
                <c:pt idx="1067">
                  <c:v>44380</c:v>
                </c:pt>
                <c:pt idx="1068">
                  <c:v>44381</c:v>
                </c:pt>
                <c:pt idx="1069">
                  <c:v>44382</c:v>
                </c:pt>
                <c:pt idx="1070">
                  <c:v>44383</c:v>
                </c:pt>
                <c:pt idx="1071">
                  <c:v>44384</c:v>
                </c:pt>
                <c:pt idx="1072">
                  <c:v>44385</c:v>
                </c:pt>
                <c:pt idx="1073">
                  <c:v>44386</c:v>
                </c:pt>
                <c:pt idx="1074">
                  <c:v>44387</c:v>
                </c:pt>
                <c:pt idx="1075">
                  <c:v>44388</c:v>
                </c:pt>
                <c:pt idx="1076">
                  <c:v>44389</c:v>
                </c:pt>
                <c:pt idx="1077">
                  <c:v>44390</c:v>
                </c:pt>
                <c:pt idx="1078">
                  <c:v>44391</c:v>
                </c:pt>
                <c:pt idx="1079">
                  <c:v>44392</c:v>
                </c:pt>
                <c:pt idx="1080">
                  <c:v>44393</c:v>
                </c:pt>
                <c:pt idx="1081">
                  <c:v>44394</c:v>
                </c:pt>
                <c:pt idx="1082">
                  <c:v>44395</c:v>
                </c:pt>
                <c:pt idx="1083">
                  <c:v>44396</c:v>
                </c:pt>
                <c:pt idx="1084">
                  <c:v>44397</c:v>
                </c:pt>
                <c:pt idx="1085">
                  <c:v>44398</c:v>
                </c:pt>
                <c:pt idx="1086">
                  <c:v>44399</c:v>
                </c:pt>
                <c:pt idx="1087">
                  <c:v>44400</c:v>
                </c:pt>
                <c:pt idx="1088">
                  <c:v>44401</c:v>
                </c:pt>
                <c:pt idx="1089">
                  <c:v>44402</c:v>
                </c:pt>
                <c:pt idx="1090">
                  <c:v>44403</c:v>
                </c:pt>
                <c:pt idx="1091">
                  <c:v>44404</c:v>
                </c:pt>
                <c:pt idx="1092">
                  <c:v>44405</c:v>
                </c:pt>
                <c:pt idx="1093">
                  <c:v>44406</c:v>
                </c:pt>
                <c:pt idx="1094">
                  <c:v>44407</c:v>
                </c:pt>
                <c:pt idx="1095">
                  <c:v>44408</c:v>
                </c:pt>
                <c:pt idx="1096">
                  <c:v>44409</c:v>
                </c:pt>
                <c:pt idx="1097">
                  <c:v>44410</c:v>
                </c:pt>
                <c:pt idx="1098">
                  <c:v>44411</c:v>
                </c:pt>
                <c:pt idx="1099">
                  <c:v>44412</c:v>
                </c:pt>
                <c:pt idx="1100">
                  <c:v>44413</c:v>
                </c:pt>
                <c:pt idx="1101">
                  <c:v>44414</c:v>
                </c:pt>
                <c:pt idx="1102">
                  <c:v>44415</c:v>
                </c:pt>
                <c:pt idx="1103">
                  <c:v>44416</c:v>
                </c:pt>
                <c:pt idx="1104">
                  <c:v>44417</c:v>
                </c:pt>
                <c:pt idx="1105">
                  <c:v>44418</c:v>
                </c:pt>
                <c:pt idx="1106">
                  <c:v>44419</c:v>
                </c:pt>
                <c:pt idx="1107">
                  <c:v>44420</c:v>
                </c:pt>
                <c:pt idx="1108">
                  <c:v>44421</c:v>
                </c:pt>
                <c:pt idx="1109">
                  <c:v>44422</c:v>
                </c:pt>
                <c:pt idx="1110">
                  <c:v>44423</c:v>
                </c:pt>
                <c:pt idx="1111">
                  <c:v>44424</c:v>
                </c:pt>
                <c:pt idx="1112">
                  <c:v>44425</c:v>
                </c:pt>
                <c:pt idx="1113">
                  <c:v>44426</c:v>
                </c:pt>
                <c:pt idx="1114">
                  <c:v>44427</c:v>
                </c:pt>
                <c:pt idx="1115">
                  <c:v>44428</c:v>
                </c:pt>
                <c:pt idx="1116">
                  <c:v>44429</c:v>
                </c:pt>
                <c:pt idx="1117">
                  <c:v>44430</c:v>
                </c:pt>
                <c:pt idx="1118">
                  <c:v>44431</c:v>
                </c:pt>
                <c:pt idx="1119">
                  <c:v>44432</c:v>
                </c:pt>
                <c:pt idx="1120">
                  <c:v>44433</c:v>
                </c:pt>
                <c:pt idx="1121">
                  <c:v>44434</c:v>
                </c:pt>
                <c:pt idx="1122">
                  <c:v>44435</c:v>
                </c:pt>
                <c:pt idx="1123">
                  <c:v>44436</c:v>
                </c:pt>
                <c:pt idx="1124">
                  <c:v>44437</c:v>
                </c:pt>
                <c:pt idx="1125">
                  <c:v>44438</c:v>
                </c:pt>
                <c:pt idx="1126">
                  <c:v>44439</c:v>
                </c:pt>
                <c:pt idx="1127">
                  <c:v>44440</c:v>
                </c:pt>
                <c:pt idx="1128">
                  <c:v>44441</c:v>
                </c:pt>
                <c:pt idx="1129">
                  <c:v>44442</c:v>
                </c:pt>
                <c:pt idx="1130">
                  <c:v>44443</c:v>
                </c:pt>
                <c:pt idx="1131">
                  <c:v>44444</c:v>
                </c:pt>
                <c:pt idx="1132">
                  <c:v>44445</c:v>
                </c:pt>
                <c:pt idx="1133">
                  <c:v>44446</c:v>
                </c:pt>
                <c:pt idx="1134">
                  <c:v>44447</c:v>
                </c:pt>
                <c:pt idx="1135">
                  <c:v>44448</c:v>
                </c:pt>
                <c:pt idx="1136">
                  <c:v>44449</c:v>
                </c:pt>
                <c:pt idx="1137">
                  <c:v>44450</c:v>
                </c:pt>
                <c:pt idx="1138">
                  <c:v>44451</c:v>
                </c:pt>
                <c:pt idx="1139">
                  <c:v>44452</c:v>
                </c:pt>
                <c:pt idx="1140">
                  <c:v>44453</c:v>
                </c:pt>
                <c:pt idx="1141">
                  <c:v>44454</c:v>
                </c:pt>
                <c:pt idx="1142">
                  <c:v>44455</c:v>
                </c:pt>
                <c:pt idx="1143">
                  <c:v>44456</c:v>
                </c:pt>
                <c:pt idx="1144">
                  <c:v>44457</c:v>
                </c:pt>
                <c:pt idx="1145">
                  <c:v>44458</c:v>
                </c:pt>
                <c:pt idx="1146">
                  <c:v>44459</c:v>
                </c:pt>
                <c:pt idx="1147">
                  <c:v>44460</c:v>
                </c:pt>
                <c:pt idx="1148">
                  <c:v>44461</c:v>
                </c:pt>
                <c:pt idx="1149">
                  <c:v>44462</c:v>
                </c:pt>
                <c:pt idx="1150">
                  <c:v>44463</c:v>
                </c:pt>
                <c:pt idx="1151">
                  <c:v>44464</c:v>
                </c:pt>
                <c:pt idx="1152">
                  <c:v>44465</c:v>
                </c:pt>
                <c:pt idx="1153">
                  <c:v>44466</c:v>
                </c:pt>
                <c:pt idx="1154">
                  <c:v>44467</c:v>
                </c:pt>
                <c:pt idx="1155">
                  <c:v>44468</c:v>
                </c:pt>
                <c:pt idx="1156">
                  <c:v>44469</c:v>
                </c:pt>
                <c:pt idx="1157">
                  <c:v>44470</c:v>
                </c:pt>
                <c:pt idx="1158">
                  <c:v>44471</c:v>
                </c:pt>
                <c:pt idx="1159">
                  <c:v>44472</c:v>
                </c:pt>
                <c:pt idx="1160">
                  <c:v>44473</c:v>
                </c:pt>
                <c:pt idx="1161">
                  <c:v>44474</c:v>
                </c:pt>
                <c:pt idx="1162">
                  <c:v>44475</c:v>
                </c:pt>
                <c:pt idx="1163">
                  <c:v>44476</c:v>
                </c:pt>
                <c:pt idx="1164">
                  <c:v>44477</c:v>
                </c:pt>
                <c:pt idx="1165">
                  <c:v>44478</c:v>
                </c:pt>
                <c:pt idx="1166">
                  <c:v>44479</c:v>
                </c:pt>
                <c:pt idx="1167">
                  <c:v>44480</c:v>
                </c:pt>
                <c:pt idx="1168">
                  <c:v>44481</c:v>
                </c:pt>
                <c:pt idx="1169">
                  <c:v>44482</c:v>
                </c:pt>
                <c:pt idx="1170">
                  <c:v>44483</c:v>
                </c:pt>
                <c:pt idx="1171">
                  <c:v>44484</c:v>
                </c:pt>
                <c:pt idx="1172">
                  <c:v>44485</c:v>
                </c:pt>
                <c:pt idx="1173">
                  <c:v>44486</c:v>
                </c:pt>
                <c:pt idx="1174">
                  <c:v>44487</c:v>
                </c:pt>
                <c:pt idx="1175">
                  <c:v>44488</c:v>
                </c:pt>
                <c:pt idx="1176">
                  <c:v>44489</c:v>
                </c:pt>
                <c:pt idx="1177">
                  <c:v>44490</c:v>
                </c:pt>
                <c:pt idx="1178">
                  <c:v>44491</c:v>
                </c:pt>
                <c:pt idx="1179">
                  <c:v>44492</c:v>
                </c:pt>
                <c:pt idx="1180">
                  <c:v>44493</c:v>
                </c:pt>
                <c:pt idx="1181">
                  <c:v>44494</c:v>
                </c:pt>
                <c:pt idx="1182">
                  <c:v>44495</c:v>
                </c:pt>
                <c:pt idx="1183">
                  <c:v>44496</c:v>
                </c:pt>
                <c:pt idx="1184">
                  <c:v>44497</c:v>
                </c:pt>
                <c:pt idx="1185">
                  <c:v>44498</c:v>
                </c:pt>
                <c:pt idx="1186">
                  <c:v>44499</c:v>
                </c:pt>
                <c:pt idx="1187">
                  <c:v>44500</c:v>
                </c:pt>
                <c:pt idx="1188">
                  <c:v>44501</c:v>
                </c:pt>
                <c:pt idx="1189">
                  <c:v>44502</c:v>
                </c:pt>
                <c:pt idx="1190">
                  <c:v>44503</c:v>
                </c:pt>
                <c:pt idx="1191">
                  <c:v>44504</c:v>
                </c:pt>
                <c:pt idx="1192">
                  <c:v>44505</c:v>
                </c:pt>
                <c:pt idx="1193">
                  <c:v>44506</c:v>
                </c:pt>
                <c:pt idx="1194">
                  <c:v>44507</c:v>
                </c:pt>
                <c:pt idx="1195">
                  <c:v>44508</c:v>
                </c:pt>
                <c:pt idx="1196">
                  <c:v>44509</c:v>
                </c:pt>
                <c:pt idx="1197">
                  <c:v>44510</c:v>
                </c:pt>
                <c:pt idx="1198">
                  <c:v>44511</c:v>
                </c:pt>
                <c:pt idx="1199">
                  <c:v>44512</c:v>
                </c:pt>
                <c:pt idx="1200">
                  <c:v>44513</c:v>
                </c:pt>
                <c:pt idx="1201">
                  <c:v>44514</c:v>
                </c:pt>
                <c:pt idx="1202">
                  <c:v>44515</c:v>
                </c:pt>
                <c:pt idx="1203">
                  <c:v>44516</c:v>
                </c:pt>
                <c:pt idx="1204">
                  <c:v>44517</c:v>
                </c:pt>
                <c:pt idx="1205">
                  <c:v>44518</c:v>
                </c:pt>
                <c:pt idx="1206">
                  <c:v>44519</c:v>
                </c:pt>
                <c:pt idx="1207">
                  <c:v>44520</c:v>
                </c:pt>
                <c:pt idx="1208">
                  <c:v>44521</c:v>
                </c:pt>
                <c:pt idx="1209">
                  <c:v>44522</c:v>
                </c:pt>
                <c:pt idx="1210">
                  <c:v>44523</c:v>
                </c:pt>
                <c:pt idx="1211">
                  <c:v>44524</c:v>
                </c:pt>
                <c:pt idx="1212">
                  <c:v>44525</c:v>
                </c:pt>
                <c:pt idx="1213">
                  <c:v>44526</c:v>
                </c:pt>
                <c:pt idx="1214">
                  <c:v>44527</c:v>
                </c:pt>
                <c:pt idx="1215">
                  <c:v>44528</c:v>
                </c:pt>
                <c:pt idx="1216">
                  <c:v>44529</c:v>
                </c:pt>
                <c:pt idx="1217">
                  <c:v>44530</c:v>
                </c:pt>
                <c:pt idx="1218">
                  <c:v>44531</c:v>
                </c:pt>
                <c:pt idx="1219">
                  <c:v>44532</c:v>
                </c:pt>
                <c:pt idx="1220">
                  <c:v>44533</c:v>
                </c:pt>
                <c:pt idx="1221">
                  <c:v>44534</c:v>
                </c:pt>
                <c:pt idx="1222">
                  <c:v>44535</c:v>
                </c:pt>
                <c:pt idx="1223">
                  <c:v>44536</c:v>
                </c:pt>
                <c:pt idx="1224">
                  <c:v>44537</c:v>
                </c:pt>
                <c:pt idx="1225">
                  <c:v>44538</c:v>
                </c:pt>
                <c:pt idx="1226">
                  <c:v>44539</c:v>
                </c:pt>
                <c:pt idx="1227">
                  <c:v>44540</c:v>
                </c:pt>
                <c:pt idx="1228">
                  <c:v>44541</c:v>
                </c:pt>
                <c:pt idx="1229">
                  <c:v>44542</c:v>
                </c:pt>
                <c:pt idx="1230">
                  <c:v>44543</c:v>
                </c:pt>
                <c:pt idx="1231">
                  <c:v>44544</c:v>
                </c:pt>
                <c:pt idx="1232">
                  <c:v>44545</c:v>
                </c:pt>
                <c:pt idx="1233">
                  <c:v>44546</c:v>
                </c:pt>
                <c:pt idx="1234">
                  <c:v>44547</c:v>
                </c:pt>
                <c:pt idx="1235">
                  <c:v>44548</c:v>
                </c:pt>
                <c:pt idx="1236">
                  <c:v>44549</c:v>
                </c:pt>
                <c:pt idx="1237">
                  <c:v>44550</c:v>
                </c:pt>
                <c:pt idx="1238">
                  <c:v>44551</c:v>
                </c:pt>
                <c:pt idx="1239">
                  <c:v>44552</c:v>
                </c:pt>
                <c:pt idx="1240">
                  <c:v>44553</c:v>
                </c:pt>
                <c:pt idx="1241">
                  <c:v>44554</c:v>
                </c:pt>
                <c:pt idx="1242">
                  <c:v>44555</c:v>
                </c:pt>
                <c:pt idx="1243">
                  <c:v>44556</c:v>
                </c:pt>
                <c:pt idx="1244">
                  <c:v>44557</c:v>
                </c:pt>
                <c:pt idx="1245">
                  <c:v>44558</c:v>
                </c:pt>
                <c:pt idx="1246">
                  <c:v>44559</c:v>
                </c:pt>
                <c:pt idx="1247">
                  <c:v>44560</c:v>
                </c:pt>
                <c:pt idx="1248">
                  <c:v>44561</c:v>
                </c:pt>
                <c:pt idx="1249">
                  <c:v>44562</c:v>
                </c:pt>
                <c:pt idx="1250">
                  <c:v>44563</c:v>
                </c:pt>
                <c:pt idx="1251">
                  <c:v>44564</c:v>
                </c:pt>
                <c:pt idx="1252">
                  <c:v>44565</c:v>
                </c:pt>
                <c:pt idx="1253">
                  <c:v>44566</c:v>
                </c:pt>
                <c:pt idx="1254">
                  <c:v>44567</c:v>
                </c:pt>
                <c:pt idx="1255">
                  <c:v>44568</c:v>
                </c:pt>
                <c:pt idx="1256">
                  <c:v>44569</c:v>
                </c:pt>
                <c:pt idx="1257">
                  <c:v>44570</c:v>
                </c:pt>
                <c:pt idx="1258">
                  <c:v>44571</c:v>
                </c:pt>
                <c:pt idx="1259">
                  <c:v>44572</c:v>
                </c:pt>
                <c:pt idx="1260">
                  <c:v>44573</c:v>
                </c:pt>
                <c:pt idx="1261">
                  <c:v>44574</c:v>
                </c:pt>
                <c:pt idx="1262">
                  <c:v>44575</c:v>
                </c:pt>
                <c:pt idx="1263">
                  <c:v>44576</c:v>
                </c:pt>
                <c:pt idx="1264">
                  <c:v>44577</c:v>
                </c:pt>
                <c:pt idx="1265">
                  <c:v>44578</c:v>
                </c:pt>
                <c:pt idx="1266">
                  <c:v>44579</c:v>
                </c:pt>
                <c:pt idx="1267">
                  <c:v>44580</c:v>
                </c:pt>
                <c:pt idx="1268">
                  <c:v>44581</c:v>
                </c:pt>
                <c:pt idx="1269">
                  <c:v>44582</c:v>
                </c:pt>
                <c:pt idx="1270">
                  <c:v>44583</c:v>
                </c:pt>
                <c:pt idx="1271">
                  <c:v>44584</c:v>
                </c:pt>
                <c:pt idx="1272">
                  <c:v>44585</c:v>
                </c:pt>
                <c:pt idx="1273">
                  <c:v>44586</c:v>
                </c:pt>
                <c:pt idx="1274">
                  <c:v>44587</c:v>
                </c:pt>
                <c:pt idx="1275">
                  <c:v>44588</c:v>
                </c:pt>
                <c:pt idx="1276">
                  <c:v>44589</c:v>
                </c:pt>
                <c:pt idx="1277">
                  <c:v>44590</c:v>
                </c:pt>
                <c:pt idx="1278">
                  <c:v>44591</c:v>
                </c:pt>
                <c:pt idx="1279">
                  <c:v>44592</c:v>
                </c:pt>
                <c:pt idx="1280">
                  <c:v>44593</c:v>
                </c:pt>
                <c:pt idx="1281">
                  <c:v>44594</c:v>
                </c:pt>
                <c:pt idx="1282">
                  <c:v>44595</c:v>
                </c:pt>
                <c:pt idx="1283">
                  <c:v>44596</c:v>
                </c:pt>
                <c:pt idx="1284">
                  <c:v>44597</c:v>
                </c:pt>
                <c:pt idx="1285">
                  <c:v>44598</c:v>
                </c:pt>
                <c:pt idx="1286">
                  <c:v>44599</c:v>
                </c:pt>
                <c:pt idx="1287">
                  <c:v>44600</c:v>
                </c:pt>
                <c:pt idx="1288">
                  <c:v>44601</c:v>
                </c:pt>
                <c:pt idx="1289">
                  <c:v>44602</c:v>
                </c:pt>
                <c:pt idx="1290">
                  <c:v>44603</c:v>
                </c:pt>
                <c:pt idx="1291">
                  <c:v>44604</c:v>
                </c:pt>
                <c:pt idx="1292">
                  <c:v>44605</c:v>
                </c:pt>
                <c:pt idx="1293">
                  <c:v>44606</c:v>
                </c:pt>
                <c:pt idx="1294">
                  <c:v>44607</c:v>
                </c:pt>
                <c:pt idx="1295">
                  <c:v>44608</c:v>
                </c:pt>
                <c:pt idx="1296">
                  <c:v>44609</c:v>
                </c:pt>
                <c:pt idx="1297">
                  <c:v>44610</c:v>
                </c:pt>
                <c:pt idx="1298">
                  <c:v>44611</c:v>
                </c:pt>
                <c:pt idx="1299">
                  <c:v>44612</c:v>
                </c:pt>
                <c:pt idx="1300">
                  <c:v>44613</c:v>
                </c:pt>
                <c:pt idx="1301">
                  <c:v>44614</c:v>
                </c:pt>
                <c:pt idx="1302">
                  <c:v>44615</c:v>
                </c:pt>
                <c:pt idx="1303">
                  <c:v>44616</c:v>
                </c:pt>
                <c:pt idx="1304">
                  <c:v>44617</c:v>
                </c:pt>
                <c:pt idx="1305">
                  <c:v>44618</c:v>
                </c:pt>
                <c:pt idx="1306">
                  <c:v>44619</c:v>
                </c:pt>
                <c:pt idx="1307">
                  <c:v>44620</c:v>
                </c:pt>
                <c:pt idx="1308">
                  <c:v>44621</c:v>
                </c:pt>
                <c:pt idx="1309">
                  <c:v>44622</c:v>
                </c:pt>
                <c:pt idx="1310">
                  <c:v>44623</c:v>
                </c:pt>
                <c:pt idx="1311">
                  <c:v>44624</c:v>
                </c:pt>
                <c:pt idx="1312">
                  <c:v>44625</c:v>
                </c:pt>
                <c:pt idx="1313">
                  <c:v>44626</c:v>
                </c:pt>
                <c:pt idx="1314">
                  <c:v>44627</c:v>
                </c:pt>
                <c:pt idx="1315">
                  <c:v>44628</c:v>
                </c:pt>
                <c:pt idx="1316">
                  <c:v>44629</c:v>
                </c:pt>
                <c:pt idx="1317">
                  <c:v>44630</c:v>
                </c:pt>
                <c:pt idx="1318">
                  <c:v>44631</c:v>
                </c:pt>
                <c:pt idx="1319">
                  <c:v>44632</c:v>
                </c:pt>
                <c:pt idx="1320">
                  <c:v>44633</c:v>
                </c:pt>
                <c:pt idx="1321">
                  <c:v>44634</c:v>
                </c:pt>
                <c:pt idx="1322">
                  <c:v>44635</c:v>
                </c:pt>
                <c:pt idx="1323">
                  <c:v>44636</c:v>
                </c:pt>
                <c:pt idx="1324">
                  <c:v>44637</c:v>
                </c:pt>
                <c:pt idx="1325">
                  <c:v>44638</c:v>
                </c:pt>
                <c:pt idx="1326">
                  <c:v>44639</c:v>
                </c:pt>
                <c:pt idx="1327">
                  <c:v>44640</c:v>
                </c:pt>
                <c:pt idx="1328">
                  <c:v>44641</c:v>
                </c:pt>
                <c:pt idx="1329">
                  <c:v>44642</c:v>
                </c:pt>
                <c:pt idx="1330">
                  <c:v>44643</c:v>
                </c:pt>
                <c:pt idx="1331">
                  <c:v>44644</c:v>
                </c:pt>
                <c:pt idx="1332">
                  <c:v>44645</c:v>
                </c:pt>
                <c:pt idx="1333">
                  <c:v>44646</c:v>
                </c:pt>
                <c:pt idx="1334">
                  <c:v>44647</c:v>
                </c:pt>
                <c:pt idx="1335">
                  <c:v>44648</c:v>
                </c:pt>
                <c:pt idx="1336">
                  <c:v>44649</c:v>
                </c:pt>
                <c:pt idx="1337">
                  <c:v>44650</c:v>
                </c:pt>
                <c:pt idx="1338">
                  <c:v>44651</c:v>
                </c:pt>
                <c:pt idx="1339">
                  <c:v>44652</c:v>
                </c:pt>
                <c:pt idx="1340">
                  <c:v>44653</c:v>
                </c:pt>
                <c:pt idx="1341">
                  <c:v>44654</c:v>
                </c:pt>
                <c:pt idx="1342">
                  <c:v>44655</c:v>
                </c:pt>
                <c:pt idx="1343">
                  <c:v>44656</c:v>
                </c:pt>
                <c:pt idx="1344">
                  <c:v>44657</c:v>
                </c:pt>
                <c:pt idx="1345">
                  <c:v>44658</c:v>
                </c:pt>
                <c:pt idx="1346">
                  <c:v>44659</c:v>
                </c:pt>
                <c:pt idx="1347">
                  <c:v>44660</c:v>
                </c:pt>
                <c:pt idx="1348">
                  <c:v>44661</c:v>
                </c:pt>
                <c:pt idx="1349">
                  <c:v>44662</c:v>
                </c:pt>
                <c:pt idx="1350">
                  <c:v>44663</c:v>
                </c:pt>
                <c:pt idx="1351">
                  <c:v>44664</c:v>
                </c:pt>
                <c:pt idx="1352">
                  <c:v>44665</c:v>
                </c:pt>
                <c:pt idx="1353">
                  <c:v>44666</c:v>
                </c:pt>
                <c:pt idx="1354">
                  <c:v>44667</c:v>
                </c:pt>
                <c:pt idx="1355">
                  <c:v>44668</c:v>
                </c:pt>
                <c:pt idx="1356">
                  <c:v>44669</c:v>
                </c:pt>
                <c:pt idx="1357">
                  <c:v>44670</c:v>
                </c:pt>
                <c:pt idx="1358">
                  <c:v>44671</c:v>
                </c:pt>
                <c:pt idx="1359">
                  <c:v>44672</c:v>
                </c:pt>
                <c:pt idx="1360">
                  <c:v>44673</c:v>
                </c:pt>
                <c:pt idx="1361">
                  <c:v>44674</c:v>
                </c:pt>
                <c:pt idx="1362">
                  <c:v>44675</c:v>
                </c:pt>
                <c:pt idx="1363">
                  <c:v>44676</c:v>
                </c:pt>
                <c:pt idx="1364">
                  <c:v>44677</c:v>
                </c:pt>
                <c:pt idx="1365">
                  <c:v>44678</c:v>
                </c:pt>
                <c:pt idx="1366">
                  <c:v>44679</c:v>
                </c:pt>
                <c:pt idx="1367">
                  <c:v>44680</c:v>
                </c:pt>
                <c:pt idx="1368">
                  <c:v>44681</c:v>
                </c:pt>
                <c:pt idx="1369">
                  <c:v>44682</c:v>
                </c:pt>
                <c:pt idx="1370">
                  <c:v>44683</c:v>
                </c:pt>
                <c:pt idx="1371">
                  <c:v>44684</c:v>
                </c:pt>
                <c:pt idx="1372">
                  <c:v>44685</c:v>
                </c:pt>
                <c:pt idx="1373">
                  <c:v>44686</c:v>
                </c:pt>
                <c:pt idx="1374">
                  <c:v>44687</c:v>
                </c:pt>
                <c:pt idx="1375">
                  <c:v>44688</c:v>
                </c:pt>
                <c:pt idx="1376">
                  <c:v>44689</c:v>
                </c:pt>
                <c:pt idx="1377">
                  <c:v>44690</c:v>
                </c:pt>
                <c:pt idx="1378">
                  <c:v>44691</c:v>
                </c:pt>
                <c:pt idx="1379">
                  <c:v>44692</c:v>
                </c:pt>
                <c:pt idx="1380">
                  <c:v>44693</c:v>
                </c:pt>
                <c:pt idx="1381">
                  <c:v>44694</c:v>
                </c:pt>
                <c:pt idx="1382">
                  <c:v>44695</c:v>
                </c:pt>
                <c:pt idx="1383">
                  <c:v>44696</c:v>
                </c:pt>
                <c:pt idx="1384">
                  <c:v>44697</c:v>
                </c:pt>
                <c:pt idx="1385">
                  <c:v>44698</c:v>
                </c:pt>
                <c:pt idx="1386">
                  <c:v>44699</c:v>
                </c:pt>
                <c:pt idx="1387">
                  <c:v>44700</c:v>
                </c:pt>
                <c:pt idx="1388">
                  <c:v>44701</c:v>
                </c:pt>
                <c:pt idx="1389">
                  <c:v>44702</c:v>
                </c:pt>
                <c:pt idx="1390">
                  <c:v>44703</c:v>
                </c:pt>
                <c:pt idx="1391">
                  <c:v>44704</c:v>
                </c:pt>
                <c:pt idx="1392">
                  <c:v>44705</c:v>
                </c:pt>
                <c:pt idx="1393">
                  <c:v>44706</c:v>
                </c:pt>
                <c:pt idx="1394">
                  <c:v>44707</c:v>
                </c:pt>
                <c:pt idx="1395">
                  <c:v>44708</c:v>
                </c:pt>
                <c:pt idx="1396">
                  <c:v>44709</c:v>
                </c:pt>
                <c:pt idx="1397">
                  <c:v>44710</c:v>
                </c:pt>
                <c:pt idx="1398">
                  <c:v>44711</c:v>
                </c:pt>
                <c:pt idx="1399">
                  <c:v>44712</c:v>
                </c:pt>
                <c:pt idx="1400">
                  <c:v>44713</c:v>
                </c:pt>
                <c:pt idx="1401">
                  <c:v>44714</c:v>
                </c:pt>
                <c:pt idx="1402">
                  <c:v>44715</c:v>
                </c:pt>
                <c:pt idx="1403">
                  <c:v>44716</c:v>
                </c:pt>
                <c:pt idx="1404">
                  <c:v>44717</c:v>
                </c:pt>
                <c:pt idx="1405">
                  <c:v>44718</c:v>
                </c:pt>
                <c:pt idx="1406">
                  <c:v>44719</c:v>
                </c:pt>
                <c:pt idx="1407">
                  <c:v>44720</c:v>
                </c:pt>
                <c:pt idx="1408">
                  <c:v>44721</c:v>
                </c:pt>
                <c:pt idx="1409">
                  <c:v>44722</c:v>
                </c:pt>
                <c:pt idx="1410">
                  <c:v>44723</c:v>
                </c:pt>
                <c:pt idx="1411">
                  <c:v>44724</c:v>
                </c:pt>
                <c:pt idx="1412">
                  <c:v>44725</c:v>
                </c:pt>
                <c:pt idx="1413">
                  <c:v>44726</c:v>
                </c:pt>
                <c:pt idx="1414">
                  <c:v>44727</c:v>
                </c:pt>
                <c:pt idx="1415">
                  <c:v>44728</c:v>
                </c:pt>
                <c:pt idx="1416">
                  <c:v>44729</c:v>
                </c:pt>
                <c:pt idx="1417">
                  <c:v>44730</c:v>
                </c:pt>
                <c:pt idx="1418">
                  <c:v>44731</c:v>
                </c:pt>
                <c:pt idx="1419">
                  <c:v>44732</c:v>
                </c:pt>
                <c:pt idx="1420">
                  <c:v>44733</c:v>
                </c:pt>
                <c:pt idx="1421">
                  <c:v>44734</c:v>
                </c:pt>
                <c:pt idx="1422">
                  <c:v>44735</c:v>
                </c:pt>
                <c:pt idx="1423">
                  <c:v>44736</c:v>
                </c:pt>
                <c:pt idx="1424">
                  <c:v>44737</c:v>
                </c:pt>
                <c:pt idx="1425">
                  <c:v>44738</c:v>
                </c:pt>
                <c:pt idx="1426">
                  <c:v>44739</c:v>
                </c:pt>
                <c:pt idx="1427">
                  <c:v>44740</c:v>
                </c:pt>
                <c:pt idx="1428">
                  <c:v>44741</c:v>
                </c:pt>
                <c:pt idx="1429">
                  <c:v>44742</c:v>
                </c:pt>
                <c:pt idx="1430">
                  <c:v>44743</c:v>
                </c:pt>
                <c:pt idx="1431">
                  <c:v>44744</c:v>
                </c:pt>
                <c:pt idx="1432">
                  <c:v>44745</c:v>
                </c:pt>
                <c:pt idx="1433">
                  <c:v>44746</c:v>
                </c:pt>
                <c:pt idx="1434">
                  <c:v>44747</c:v>
                </c:pt>
                <c:pt idx="1435">
                  <c:v>44748</c:v>
                </c:pt>
                <c:pt idx="1436">
                  <c:v>44749</c:v>
                </c:pt>
                <c:pt idx="1437">
                  <c:v>44750</c:v>
                </c:pt>
                <c:pt idx="1438">
                  <c:v>44751</c:v>
                </c:pt>
                <c:pt idx="1439">
                  <c:v>44752</c:v>
                </c:pt>
                <c:pt idx="1440">
                  <c:v>44753</c:v>
                </c:pt>
                <c:pt idx="1441">
                  <c:v>44754</c:v>
                </c:pt>
                <c:pt idx="1442">
                  <c:v>44755</c:v>
                </c:pt>
                <c:pt idx="1443">
                  <c:v>44756</c:v>
                </c:pt>
                <c:pt idx="1444">
                  <c:v>44757</c:v>
                </c:pt>
                <c:pt idx="1445">
                  <c:v>44758</c:v>
                </c:pt>
                <c:pt idx="1446">
                  <c:v>44759</c:v>
                </c:pt>
                <c:pt idx="1447">
                  <c:v>44760</c:v>
                </c:pt>
                <c:pt idx="1448">
                  <c:v>44761</c:v>
                </c:pt>
                <c:pt idx="1449">
                  <c:v>44762</c:v>
                </c:pt>
                <c:pt idx="1450">
                  <c:v>44763</c:v>
                </c:pt>
                <c:pt idx="1451">
                  <c:v>44764</c:v>
                </c:pt>
                <c:pt idx="1452">
                  <c:v>44765</c:v>
                </c:pt>
                <c:pt idx="1453">
                  <c:v>44766</c:v>
                </c:pt>
                <c:pt idx="1454">
                  <c:v>44767</c:v>
                </c:pt>
                <c:pt idx="1455">
                  <c:v>44768</c:v>
                </c:pt>
                <c:pt idx="1456">
                  <c:v>44769</c:v>
                </c:pt>
                <c:pt idx="1457">
                  <c:v>44770</c:v>
                </c:pt>
                <c:pt idx="1458">
                  <c:v>44771</c:v>
                </c:pt>
                <c:pt idx="1459">
                  <c:v>44772</c:v>
                </c:pt>
                <c:pt idx="1460">
                  <c:v>44773</c:v>
                </c:pt>
                <c:pt idx="1461">
                  <c:v>44774</c:v>
                </c:pt>
                <c:pt idx="1462">
                  <c:v>44775</c:v>
                </c:pt>
                <c:pt idx="1463">
                  <c:v>44776</c:v>
                </c:pt>
                <c:pt idx="1464">
                  <c:v>44777</c:v>
                </c:pt>
                <c:pt idx="1465">
                  <c:v>44778</c:v>
                </c:pt>
                <c:pt idx="1466">
                  <c:v>44779</c:v>
                </c:pt>
                <c:pt idx="1467">
                  <c:v>44780</c:v>
                </c:pt>
                <c:pt idx="1468">
                  <c:v>44781</c:v>
                </c:pt>
                <c:pt idx="1469">
                  <c:v>44782</c:v>
                </c:pt>
                <c:pt idx="1470">
                  <c:v>44783</c:v>
                </c:pt>
                <c:pt idx="1471">
                  <c:v>44784</c:v>
                </c:pt>
                <c:pt idx="1472">
                  <c:v>44785</c:v>
                </c:pt>
                <c:pt idx="1473">
                  <c:v>44786</c:v>
                </c:pt>
                <c:pt idx="1474">
                  <c:v>44787</c:v>
                </c:pt>
                <c:pt idx="1475">
                  <c:v>44788</c:v>
                </c:pt>
                <c:pt idx="1476">
                  <c:v>44789</c:v>
                </c:pt>
                <c:pt idx="1477">
                  <c:v>44790</c:v>
                </c:pt>
                <c:pt idx="1478">
                  <c:v>44791</c:v>
                </c:pt>
                <c:pt idx="1479">
                  <c:v>44792</c:v>
                </c:pt>
                <c:pt idx="1480">
                  <c:v>44793</c:v>
                </c:pt>
                <c:pt idx="1481">
                  <c:v>44794</c:v>
                </c:pt>
                <c:pt idx="1482">
                  <c:v>44795</c:v>
                </c:pt>
                <c:pt idx="1483">
                  <c:v>44796</c:v>
                </c:pt>
                <c:pt idx="1484">
                  <c:v>44797</c:v>
                </c:pt>
                <c:pt idx="1485">
                  <c:v>44798</c:v>
                </c:pt>
                <c:pt idx="1486">
                  <c:v>44799</c:v>
                </c:pt>
                <c:pt idx="1487">
                  <c:v>44800</c:v>
                </c:pt>
                <c:pt idx="1488">
                  <c:v>44801</c:v>
                </c:pt>
                <c:pt idx="1489">
                  <c:v>44802</c:v>
                </c:pt>
                <c:pt idx="1490">
                  <c:v>44803</c:v>
                </c:pt>
                <c:pt idx="1491">
                  <c:v>44804</c:v>
                </c:pt>
                <c:pt idx="1492">
                  <c:v>44805</c:v>
                </c:pt>
                <c:pt idx="1493">
                  <c:v>44806</c:v>
                </c:pt>
                <c:pt idx="1494">
                  <c:v>44807</c:v>
                </c:pt>
                <c:pt idx="1495">
                  <c:v>44808</c:v>
                </c:pt>
                <c:pt idx="1496">
                  <c:v>44809</c:v>
                </c:pt>
                <c:pt idx="1497">
                  <c:v>44810</c:v>
                </c:pt>
                <c:pt idx="1498">
                  <c:v>44811</c:v>
                </c:pt>
                <c:pt idx="1499">
                  <c:v>44812</c:v>
                </c:pt>
                <c:pt idx="1500">
                  <c:v>44813</c:v>
                </c:pt>
                <c:pt idx="1501">
                  <c:v>44814</c:v>
                </c:pt>
                <c:pt idx="1502">
                  <c:v>44815</c:v>
                </c:pt>
                <c:pt idx="1503">
                  <c:v>44816</c:v>
                </c:pt>
                <c:pt idx="1504">
                  <c:v>44817</c:v>
                </c:pt>
                <c:pt idx="1505">
                  <c:v>44818</c:v>
                </c:pt>
                <c:pt idx="1506">
                  <c:v>44819</c:v>
                </c:pt>
                <c:pt idx="1507">
                  <c:v>44820</c:v>
                </c:pt>
                <c:pt idx="1508">
                  <c:v>44821</c:v>
                </c:pt>
                <c:pt idx="1509">
                  <c:v>44822</c:v>
                </c:pt>
                <c:pt idx="1510">
                  <c:v>44823</c:v>
                </c:pt>
                <c:pt idx="1511">
                  <c:v>44824</c:v>
                </c:pt>
                <c:pt idx="1512">
                  <c:v>44825</c:v>
                </c:pt>
                <c:pt idx="1513">
                  <c:v>44826</c:v>
                </c:pt>
                <c:pt idx="1514">
                  <c:v>44827</c:v>
                </c:pt>
                <c:pt idx="1515">
                  <c:v>44828</c:v>
                </c:pt>
                <c:pt idx="1516">
                  <c:v>44829</c:v>
                </c:pt>
                <c:pt idx="1517">
                  <c:v>44830</c:v>
                </c:pt>
                <c:pt idx="1518">
                  <c:v>44831</c:v>
                </c:pt>
                <c:pt idx="1519">
                  <c:v>44832</c:v>
                </c:pt>
                <c:pt idx="1520">
                  <c:v>44833</c:v>
                </c:pt>
                <c:pt idx="1521">
                  <c:v>44834</c:v>
                </c:pt>
                <c:pt idx="1522">
                  <c:v>44835</c:v>
                </c:pt>
                <c:pt idx="1523">
                  <c:v>44836</c:v>
                </c:pt>
                <c:pt idx="1524">
                  <c:v>44837</c:v>
                </c:pt>
                <c:pt idx="1525">
                  <c:v>44838</c:v>
                </c:pt>
                <c:pt idx="1526">
                  <c:v>44839</c:v>
                </c:pt>
                <c:pt idx="1527">
                  <c:v>44840</c:v>
                </c:pt>
                <c:pt idx="1528">
                  <c:v>44841</c:v>
                </c:pt>
                <c:pt idx="1529">
                  <c:v>44842</c:v>
                </c:pt>
                <c:pt idx="1530">
                  <c:v>44843</c:v>
                </c:pt>
                <c:pt idx="1531">
                  <c:v>44844</c:v>
                </c:pt>
                <c:pt idx="1532">
                  <c:v>44845</c:v>
                </c:pt>
                <c:pt idx="1533">
                  <c:v>44846</c:v>
                </c:pt>
                <c:pt idx="1534">
                  <c:v>44847</c:v>
                </c:pt>
                <c:pt idx="1535">
                  <c:v>44848</c:v>
                </c:pt>
                <c:pt idx="1536">
                  <c:v>44849</c:v>
                </c:pt>
                <c:pt idx="1537">
                  <c:v>44850</c:v>
                </c:pt>
                <c:pt idx="1538">
                  <c:v>44851</c:v>
                </c:pt>
                <c:pt idx="1539">
                  <c:v>44852</c:v>
                </c:pt>
                <c:pt idx="1540">
                  <c:v>44853</c:v>
                </c:pt>
                <c:pt idx="1541">
                  <c:v>44854</c:v>
                </c:pt>
                <c:pt idx="1542">
                  <c:v>44855</c:v>
                </c:pt>
                <c:pt idx="1543">
                  <c:v>44856</c:v>
                </c:pt>
                <c:pt idx="1544">
                  <c:v>44857</c:v>
                </c:pt>
                <c:pt idx="1545">
                  <c:v>44858</c:v>
                </c:pt>
                <c:pt idx="1546">
                  <c:v>44859</c:v>
                </c:pt>
                <c:pt idx="1547">
                  <c:v>44860</c:v>
                </c:pt>
                <c:pt idx="1548">
                  <c:v>44861</c:v>
                </c:pt>
                <c:pt idx="1549">
                  <c:v>44862</c:v>
                </c:pt>
                <c:pt idx="1550">
                  <c:v>44863</c:v>
                </c:pt>
                <c:pt idx="1551">
                  <c:v>44864</c:v>
                </c:pt>
                <c:pt idx="1552">
                  <c:v>44865</c:v>
                </c:pt>
                <c:pt idx="1553">
                  <c:v>44866</c:v>
                </c:pt>
                <c:pt idx="1554">
                  <c:v>44867</c:v>
                </c:pt>
                <c:pt idx="1555">
                  <c:v>44868</c:v>
                </c:pt>
                <c:pt idx="1556">
                  <c:v>44869</c:v>
                </c:pt>
                <c:pt idx="1557">
                  <c:v>44870</c:v>
                </c:pt>
                <c:pt idx="1558">
                  <c:v>44871</c:v>
                </c:pt>
                <c:pt idx="1559">
                  <c:v>44872</c:v>
                </c:pt>
                <c:pt idx="1560">
                  <c:v>44873</c:v>
                </c:pt>
                <c:pt idx="1561">
                  <c:v>44874</c:v>
                </c:pt>
                <c:pt idx="1562">
                  <c:v>44875</c:v>
                </c:pt>
                <c:pt idx="1563">
                  <c:v>44876</c:v>
                </c:pt>
                <c:pt idx="1564">
                  <c:v>44877</c:v>
                </c:pt>
                <c:pt idx="1565">
                  <c:v>44878</c:v>
                </c:pt>
                <c:pt idx="1566">
                  <c:v>44879</c:v>
                </c:pt>
                <c:pt idx="1567">
                  <c:v>44880</c:v>
                </c:pt>
                <c:pt idx="1568">
                  <c:v>44881</c:v>
                </c:pt>
                <c:pt idx="1569">
                  <c:v>44882</c:v>
                </c:pt>
                <c:pt idx="1570">
                  <c:v>44883</c:v>
                </c:pt>
                <c:pt idx="1571">
                  <c:v>44884</c:v>
                </c:pt>
                <c:pt idx="1572">
                  <c:v>44885</c:v>
                </c:pt>
                <c:pt idx="1573">
                  <c:v>44886</c:v>
                </c:pt>
                <c:pt idx="1574">
                  <c:v>44887</c:v>
                </c:pt>
                <c:pt idx="1575">
                  <c:v>44888</c:v>
                </c:pt>
                <c:pt idx="1576">
                  <c:v>44889</c:v>
                </c:pt>
                <c:pt idx="1577">
                  <c:v>44890</c:v>
                </c:pt>
                <c:pt idx="1578">
                  <c:v>44891</c:v>
                </c:pt>
                <c:pt idx="1579">
                  <c:v>44892</c:v>
                </c:pt>
                <c:pt idx="1580">
                  <c:v>44893</c:v>
                </c:pt>
                <c:pt idx="1581">
                  <c:v>44894</c:v>
                </c:pt>
                <c:pt idx="1582">
                  <c:v>44895</c:v>
                </c:pt>
                <c:pt idx="1583">
                  <c:v>44896</c:v>
                </c:pt>
                <c:pt idx="1584">
                  <c:v>44897</c:v>
                </c:pt>
                <c:pt idx="1585">
                  <c:v>44898</c:v>
                </c:pt>
                <c:pt idx="1586">
                  <c:v>44899</c:v>
                </c:pt>
                <c:pt idx="1587">
                  <c:v>44900</c:v>
                </c:pt>
                <c:pt idx="1588">
                  <c:v>44901</c:v>
                </c:pt>
                <c:pt idx="1589">
                  <c:v>44902</c:v>
                </c:pt>
                <c:pt idx="1590">
                  <c:v>44903</c:v>
                </c:pt>
                <c:pt idx="1591">
                  <c:v>44904</c:v>
                </c:pt>
                <c:pt idx="1592">
                  <c:v>44905</c:v>
                </c:pt>
                <c:pt idx="1593">
                  <c:v>44906</c:v>
                </c:pt>
                <c:pt idx="1594">
                  <c:v>44907</c:v>
                </c:pt>
                <c:pt idx="1595">
                  <c:v>44908</c:v>
                </c:pt>
                <c:pt idx="1596">
                  <c:v>44909</c:v>
                </c:pt>
                <c:pt idx="1597">
                  <c:v>44910</c:v>
                </c:pt>
                <c:pt idx="1598">
                  <c:v>44911</c:v>
                </c:pt>
                <c:pt idx="1599">
                  <c:v>44912</c:v>
                </c:pt>
                <c:pt idx="1600">
                  <c:v>44913</c:v>
                </c:pt>
                <c:pt idx="1601">
                  <c:v>44914</c:v>
                </c:pt>
                <c:pt idx="1602">
                  <c:v>44915</c:v>
                </c:pt>
                <c:pt idx="1603">
                  <c:v>44916</c:v>
                </c:pt>
                <c:pt idx="1604">
                  <c:v>44917</c:v>
                </c:pt>
                <c:pt idx="1605">
                  <c:v>44918</c:v>
                </c:pt>
                <c:pt idx="1606">
                  <c:v>44919</c:v>
                </c:pt>
                <c:pt idx="1607">
                  <c:v>44920</c:v>
                </c:pt>
                <c:pt idx="1608">
                  <c:v>44921</c:v>
                </c:pt>
                <c:pt idx="1609">
                  <c:v>44922</c:v>
                </c:pt>
                <c:pt idx="1610">
                  <c:v>44923</c:v>
                </c:pt>
                <c:pt idx="1611">
                  <c:v>44924</c:v>
                </c:pt>
                <c:pt idx="1612">
                  <c:v>44925</c:v>
                </c:pt>
                <c:pt idx="1613">
                  <c:v>44926</c:v>
                </c:pt>
                <c:pt idx="1614">
                  <c:v>44927</c:v>
                </c:pt>
                <c:pt idx="1615">
                  <c:v>44928</c:v>
                </c:pt>
                <c:pt idx="1616">
                  <c:v>44929</c:v>
                </c:pt>
                <c:pt idx="1617">
                  <c:v>44930</c:v>
                </c:pt>
                <c:pt idx="1618">
                  <c:v>44931</c:v>
                </c:pt>
                <c:pt idx="1619">
                  <c:v>44932</c:v>
                </c:pt>
                <c:pt idx="1620">
                  <c:v>44933</c:v>
                </c:pt>
                <c:pt idx="1621">
                  <c:v>44934</c:v>
                </c:pt>
                <c:pt idx="1622">
                  <c:v>44935</c:v>
                </c:pt>
                <c:pt idx="1623">
                  <c:v>44936</c:v>
                </c:pt>
                <c:pt idx="1624">
                  <c:v>44937</c:v>
                </c:pt>
                <c:pt idx="1625">
                  <c:v>44938</c:v>
                </c:pt>
                <c:pt idx="1626">
                  <c:v>44939</c:v>
                </c:pt>
                <c:pt idx="1627">
                  <c:v>44940</c:v>
                </c:pt>
                <c:pt idx="1628">
                  <c:v>44941</c:v>
                </c:pt>
                <c:pt idx="1629">
                  <c:v>44942</c:v>
                </c:pt>
                <c:pt idx="1630">
                  <c:v>44943</c:v>
                </c:pt>
                <c:pt idx="1631">
                  <c:v>44944</c:v>
                </c:pt>
                <c:pt idx="1632">
                  <c:v>44945</c:v>
                </c:pt>
                <c:pt idx="1633">
                  <c:v>44946</c:v>
                </c:pt>
                <c:pt idx="1634">
                  <c:v>44947</c:v>
                </c:pt>
                <c:pt idx="1635">
                  <c:v>44948</c:v>
                </c:pt>
                <c:pt idx="1636">
                  <c:v>44949</c:v>
                </c:pt>
                <c:pt idx="1637">
                  <c:v>44950</c:v>
                </c:pt>
                <c:pt idx="1638">
                  <c:v>44951</c:v>
                </c:pt>
                <c:pt idx="1639">
                  <c:v>44952</c:v>
                </c:pt>
                <c:pt idx="1640">
                  <c:v>44953</c:v>
                </c:pt>
                <c:pt idx="1641">
                  <c:v>44954</c:v>
                </c:pt>
                <c:pt idx="1642">
                  <c:v>44955</c:v>
                </c:pt>
                <c:pt idx="1643">
                  <c:v>44956</c:v>
                </c:pt>
                <c:pt idx="1644">
                  <c:v>44957</c:v>
                </c:pt>
                <c:pt idx="1645">
                  <c:v>44958</c:v>
                </c:pt>
                <c:pt idx="1646">
                  <c:v>44959</c:v>
                </c:pt>
                <c:pt idx="1647">
                  <c:v>44960</c:v>
                </c:pt>
                <c:pt idx="1648">
                  <c:v>44961</c:v>
                </c:pt>
                <c:pt idx="1649">
                  <c:v>44962</c:v>
                </c:pt>
                <c:pt idx="1650">
                  <c:v>44963</c:v>
                </c:pt>
                <c:pt idx="1651">
                  <c:v>44964</c:v>
                </c:pt>
                <c:pt idx="1652">
                  <c:v>44965</c:v>
                </c:pt>
                <c:pt idx="1653">
                  <c:v>44966</c:v>
                </c:pt>
                <c:pt idx="1654">
                  <c:v>44967</c:v>
                </c:pt>
                <c:pt idx="1655">
                  <c:v>44968</c:v>
                </c:pt>
                <c:pt idx="1656">
                  <c:v>44969</c:v>
                </c:pt>
                <c:pt idx="1657">
                  <c:v>44970</c:v>
                </c:pt>
                <c:pt idx="1658">
                  <c:v>44971</c:v>
                </c:pt>
                <c:pt idx="1659">
                  <c:v>44972</c:v>
                </c:pt>
                <c:pt idx="1660">
                  <c:v>44973</c:v>
                </c:pt>
                <c:pt idx="1661">
                  <c:v>44974</c:v>
                </c:pt>
                <c:pt idx="1662">
                  <c:v>44975</c:v>
                </c:pt>
                <c:pt idx="1663">
                  <c:v>44976</c:v>
                </c:pt>
                <c:pt idx="1664">
                  <c:v>44977</c:v>
                </c:pt>
                <c:pt idx="1665">
                  <c:v>44978</c:v>
                </c:pt>
                <c:pt idx="1666">
                  <c:v>44979</c:v>
                </c:pt>
                <c:pt idx="1667">
                  <c:v>44980</c:v>
                </c:pt>
                <c:pt idx="1668">
                  <c:v>44981</c:v>
                </c:pt>
                <c:pt idx="1669">
                  <c:v>44982</c:v>
                </c:pt>
                <c:pt idx="1670">
                  <c:v>44983</c:v>
                </c:pt>
                <c:pt idx="1671">
                  <c:v>44984</c:v>
                </c:pt>
                <c:pt idx="1672">
                  <c:v>44985</c:v>
                </c:pt>
                <c:pt idx="1673">
                  <c:v>44986</c:v>
                </c:pt>
                <c:pt idx="1674">
                  <c:v>44987</c:v>
                </c:pt>
                <c:pt idx="1675">
                  <c:v>44988</c:v>
                </c:pt>
                <c:pt idx="1676">
                  <c:v>44989</c:v>
                </c:pt>
                <c:pt idx="1677">
                  <c:v>44990</c:v>
                </c:pt>
                <c:pt idx="1678">
                  <c:v>44991</c:v>
                </c:pt>
                <c:pt idx="1679">
                  <c:v>44992</c:v>
                </c:pt>
                <c:pt idx="1680">
                  <c:v>44993</c:v>
                </c:pt>
                <c:pt idx="1681">
                  <c:v>44994</c:v>
                </c:pt>
                <c:pt idx="1682">
                  <c:v>44995</c:v>
                </c:pt>
                <c:pt idx="1683">
                  <c:v>44996</c:v>
                </c:pt>
                <c:pt idx="1684">
                  <c:v>44997</c:v>
                </c:pt>
                <c:pt idx="1685">
                  <c:v>44998</c:v>
                </c:pt>
                <c:pt idx="1686">
                  <c:v>44999</c:v>
                </c:pt>
                <c:pt idx="1687">
                  <c:v>45000</c:v>
                </c:pt>
                <c:pt idx="1688">
                  <c:v>45001</c:v>
                </c:pt>
                <c:pt idx="1689">
                  <c:v>45002</c:v>
                </c:pt>
                <c:pt idx="1690">
                  <c:v>45003</c:v>
                </c:pt>
                <c:pt idx="1691">
                  <c:v>45004</c:v>
                </c:pt>
                <c:pt idx="1692">
                  <c:v>45005</c:v>
                </c:pt>
                <c:pt idx="1693">
                  <c:v>45006</c:v>
                </c:pt>
                <c:pt idx="1694">
                  <c:v>45007</c:v>
                </c:pt>
                <c:pt idx="1695">
                  <c:v>45008</c:v>
                </c:pt>
                <c:pt idx="1696">
                  <c:v>45009</c:v>
                </c:pt>
                <c:pt idx="1697">
                  <c:v>45010</c:v>
                </c:pt>
                <c:pt idx="1698">
                  <c:v>45011</c:v>
                </c:pt>
                <c:pt idx="1699">
                  <c:v>45012</c:v>
                </c:pt>
                <c:pt idx="1700">
                  <c:v>45013</c:v>
                </c:pt>
                <c:pt idx="1701">
                  <c:v>45014</c:v>
                </c:pt>
                <c:pt idx="1702">
                  <c:v>45015</c:v>
                </c:pt>
                <c:pt idx="1703">
                  <c:v>45016</c:v>
                </c:pt>
                <c:pt idx="1704">
                  <c:v>45017</c:v>
                </c:pt>
                <c:pt idx="1705">
                  <c:v>45018</c:v>
                </c:pt>
                <c:pt idx="1706">
                  <c:v>45019</c:v>
                </c:pt>
                <c:pt idx="1707">
                  <c:v>45020</c:v>
                </c:pt>
                <c:pt idx="1708">
                  <c:v>45021</c:v>
                </c:pt>
                <c:pt idx="1709">
                  <c:v>45022</c:v>
                </c:pt>
                <c:pt idx="1710">
                  <c:v>45023</c:v>
                </c:pt>
                <c:pt idx="1711">
                  <c:v>45024</c:v>
                </c:pt>
                <c:pt idx="1712">
                  <c:v>45025</c:v>
                </c:pt>
                <c:pt idx="1713">
                  <c:v>45026</c:v>
                </c:pt>
                <c:pt idx="1714">
                  <c:v>45027</c:v>
                </c:pt>
                <c:pt idx="1715">
                  <c:v>45028</c:v>
                </c:pt>
                <c:pt idx="1716">
                  <c:v>45029</c:v>
                </c:pt>
                <c:pt idx="1717">
                  <c:v>45030</c:v>
                </c:pt>
                <c:pt idx="1718">
                  <c:v>45031</c:v>
                </c:pt>
                <c:pt idx="1719">
                  <c:v>45032</c:v>
                </c:pt>
                <c:pt idx="1720">
                  <c:v>45033</c:v>
                </c:pt>
                <c:pt idx="1721">
                  <c:v>45034</c:v>
                </c:pt>
                <c:pt idx="1722">
                  <c:v>45035</c:v>
                </c:pt>
                <c:pt idx="1723">
                  <c:v>45036</c:v>
                </c:pt>
                <c:pt idx="1724">
                  <c:v>45037</c:v>
                </c:pt>
                <c:pt idx="1725">
                  <c:v>45038</c:v>
                </c:pt>
                <c:pt idx="1726">
                  <c:v>45039</c:v>
                </c:pt>
                <c:pt idx="1727">
                  <c:v>45040</c:v>
                </c:pt>
                <c:pt idx="1728">
                  <c:v>45041</c:v>
                </c:pt>
                <c:pt idx="1729">
                  <c:v>45042</c:v>
                </c:pt>
                <c:pt idx="1730">
                  <c:v>45043</c:v>
                </c:pt>
                <c:pt idx="1731">
                  <c:v>45044</c:v>
                </c:pt>
                <c:pt idx="1732">
                  <c:v>45045</c:v>
                </c:pt>
                <c:pt idx="1733">
                  <c:v>45046</c:v>
                </c:pt>
                <c:pt idx="1734">
                  <c:v>45047</c:v>
                </c:pt>
                <c:pt idx="1735">
                  <c:v>45048</c:v>
                </c:pt>
                <c:pt idx="1736">
                  <c:v>45049</c:v>
                </c:pt>
                <c:pt idx="1737">
                  <c:v>45050</c:v>
                </c:pt>
                <c:pt idx="1738">
                  <c:v>45051</c:v>
                </c:pt>
                <c:pt idx="1739">
                  <c:v>45052</c:v>
                </c:pt>
                <c:pt idx="1740">
                  <c:v>45053</c:v>
                </c:pt>
                <c:pt idx="1741">
                  <c:v>45054</c:v>
                </c:pt>
                <c:pt idx="1742">
                  <c:v>45055</c:v>
                </c:pt>
                <c:pt idx="1743">
                  <c:v>45056</c:v>
                </c:pt>
                <c:pt idx="1744">
                  <c:v>45057</c:v>
                </c:pt>
                <c:pt idx="1745">
                  <c:v>45058</c:v>
                </c:pt>
                <c:pt idx="1746">
                  <c:v>45059</c:v>
                </c:pt>
                <c:pt idx="1747">
                  <c:v>45060</c:v>
                </c:pt>
                <c:pt idx="1748">
                  <c:v>45061</c:v>
                </c:pt>
                <c:pt idx="1749">
                  <c:v>45062</c:v>
                </c:pt>
                <c:pt idx="1750">
                  <c:v>45063</c:v>
                </c:pt>
                <c:pt idx="1751">
                  <c:v>45064</c:v>
                </c:pt>
                <c:pt idx="1752">
                  <c:v>45065</c:v>
                </c:pt>
                <c:pt idx="1753">
                  <c:v>45066</c:v>
                </c:pt>
                <c:pt idx="1754">
                  <c:v>45067</c:v>
                </c:pt>
                <c:pt idx="1755">
                  <c:v>45068</c:v>
                </c:pt>
                <c:pt idx="1756">
                  <c:v>45069</c:v>
                </c:pt>
                <c:pt idx="1757">
                  <c:v>45070</c:v>
                </c:pt>
                <c:pt idx="1758">
                  <c:v>45071</c:v>
                </c:pt>
                <c:pt idx="1759">
                  <c:v>45072</c:v>
                </c:pt>
                <c:pt idx="1760">
                  <c:v>45073</c:v>
                </c:pt>
                <c:pt idx="1761">
                  <c:v>45074</c:v>
                </c:pt>
                <c:pt idx="1762">
                  <c:v>45075</c:v>
                </c:pt>
                <c:pt idx="1763">
                  <c:v>45076</c:v>
                </c:pt>
                <c:pt idx="1764">
                  <c:v>45077</c:v>
                </c:pt>
                <c:pt idx="1765">
                  <c:v>45078</c:v>
                </c:pt>
                <c:pt idx="1766">
                  <c:v>45079</c:v>
                </c:pt>
                <c:pt idx="1767">
                  <c:v>45080</c:v>
                </c:pt>
                <c:pt idx="1768">
                  <c:v>45081</c:v>
                </c:pt>
                <c:pt idx="1769">
                  <c:v>45082</c:v>
                </c:pt>
                <c:pt idx="1770">
                  <c:v>45083</c:v>
                </c:pt>
                <c:pt idx="1771">
                  <c:v>45084</c:v>
                </c:pt>
                <c:pt idx="1772">
                  <c:v>45085</c:v>
                </c:pt>
                <c:pt idx="1773">
                  <c:v>45086</c:v>
                </c:pt>
                <c:pt idx="1774">
                  <c:v>45087</c:v>
                </c:pt>
                <c:pt idx="1775">
                  <c:v>45088</c:v>
                </c:pt>
                <c:pt idx="1776">
                  <c:v>45089</c:v>
                </c:pt>
                <c:pt idx="1777">
                  <c:v>45090</c:v>
                </c:pt>
                <c:pt idx="1778">
                  <c:v>45091</c:v>
                </c:pt>
                <c:pt idx="1779">
                  <c:v>45092</c:v>
                </c:pt>
                <c:pt idx="1780">
                  <c:v>45093</c:v>
                </c:pt>
                <c:pt idx="1781">
                  <c:v>45094</c:v>
                </c:pt>
                <c:pt idx="1782">
                  <c:v>45095</c:v>
                </c:pt>
                <c:pt idx="1783">
                  <c:v>45096</c:v>
                </c:pt>
                <c:pt idx="1784">
                  <c:v>45097</c:v>
                </c:pt>
                <c:pt idx="1785">
                  <c:v>45098</c:v>
                </c:pt>
                <c:pt idx="1786">
                  <c:v>45099</c:v>
                </c:pt>
                <c:pt idx="1787">
                  <c:v>45100</c:v>
                </c:pt>
                <c:pt idx="1788">
                  <c:v>45101</c:v>
                </c:pt>
                <c:pt idx="1789">
                  <c:v>45102</c:v>
                </c:pt>
                <c:pt idx="1790">
                  <c:v>45103</c:v>
                </c:pt>
                <c:pt idx="1791">
                  <c:v>45104</c:v>
                </c:pt>
                <c:pt idx="1792">
                  <c:v>45105</c:v>
                </c:pt>
                <c:pt idx="1793">
                  <c:v>45106</c:v>
                </c:pt>
                <c:pt idx="1794">
                  <c:v>45107</c:v>
                </c:pt>
                <c:pt idx="1795">
                  <c:v>45108</c:v>
                </c:pt>
                <c:pt idx="1796">
                  <c:v>45109</c:v>
                </c:pt>
                <c:pt idx="1797">
                  <c:v>45110</c:v>
                </c:pt>
                <c:pt idx="1798">
                  <c:v>45111</c:v>
                </c:pt>
                <c:pt idx="1799">
                  <c:v>45112</c:v>
                </c:pt>
                <c:pt idx="1800">
                  <c:v>45113</c:v>
                </c:pt>
                <c:pt idx="1801">
                  <c:v>45114</c:v>
                </c:pt>
                <c:pt idx="1802">
                  <c:v>45115</c:v>
                </c:pt>
                <c:pt idx="1803">
                  <c:v>45116</c:v>
                </c:pt>
                <c:pt idx="1804">
                  <c:v>45117</c:v>
                </c:pt>
                <c:pt idx="1805">
                  <c:v>45118</c:v>
                </c:pt>
                <c:pt idx="1806">
                  <c:v>45119</c:v>
                </c:pt>
                <c:pt idx="1807">
                  <c:v>45120</c:v>
                </c:pt>
                <c:pt idx="1808">
                  <c:v>45121</c:v>
                </c:pt>
                <c:pt idx="1809">
                  <c:v>45122</c:v>
                </c:pt>
                <c:pt idx="1810">
                  <c:v>45123</c:v>
                </c:pt>
                <c:pt idx="1811">
                  <c:v>45124</c:v>
                </c:pt>
                <c:pt idx="1812">
                  <c:v>45125</c:v>
                </c:pt>
                <c:pt idx="1813">
                  <c:v>45126</c:v>
                </c:pt>
                <c:pt idx="1814">
                  <c:v>45127</c:v>
                </c:pt>
                <c:pt idx="1815">
                  <c:v>45128</c:v>
                </c:pt>
                <c:pt idx="1816">
                  <c:v>45129</c:v>
                </c:pt>
                <c:pt idx="1817">
                  <c:v>45130</c:v>
                </c:pt>
                <c:pt idx="1818">
                  <c:v>45131</c:v>
                </c:pt>
                <c:pt idx="1819">
                  <c:v>45132</c:v>
                </c:pt>
                <c:pt idx="1820">
                  <c:v>45133</c:v>
                </c:pt>
                <c:pt idx="1821">
                  <c:v>45134</c:v>
                </c:pt>
                <c:pt idx="1822">
                  <c:v>45135</c:v>
                </c:pt>
                <c:pt idx="1823">
                  <c:v>45136</c:v>
                </c:pt>
                <c:pt idx="1824">
                  <c:v>45137</c:v>
                </c:pt>
                <c:pt idx="1825">
                  <c:v>45138</c:v>
                </c:pt>
                <c:pt idx="1826">
                  <c:v>45139</c:v>
                </c:pt>
                <c:pt idx="1827">
                  <c:v>45140</c:v>
                </c:pt>
                <c:pt idx="1828">
                  <c:v>45141</c:v>
                </c:pt>
                <c:pt idx="1829">
                  <c:v>45142</c:v>
                </c:pt>
                <c:pt idx="1830">
                  <c:v>45143</c:v>
                </c:pt>
                <c:pt idx="1831">
                  <c:v>45144</c:v>
                </c:pt>
                <c:pt idx="1832">
                  <c:v>45145</c:v>
                </c:pt>
                <c:pt idx="1833">
                  <c:v>45146</c:v>
                </c:pt>
                <c:pt idx="1834">
                  <c:v>45147</c:v>
                </c:pt>
                <c:pt idx="1835">
                  <c:v>45148</c:v>
                </c:pt>
                <c:pt idx="1836">
                  <c:v>45149</c:v>
                </c:pt>
                <c:pt idx="1837">
                  <c:v>45150</c:v>
                </c:pt>
                <c:pt idx="1838">
                  <c:v>45151</c:v>
                </c:pt>
                <c:pt idx="1839">
                  <c:v>45152</c:v>
                </c:pt>
                <c:pt idx="1840">
                  <c:v>45153</c:v>
                </c:pt>
                <c:pt idx="1841">
                  <c:v>45154</c:v>
                </c:pt>
                <c:pt idx="1842">
                  <c:v>45155</c:v>
                </c:pt>
                <c:pt idx="1843">
                  <c:v>45156</c:v>
                </c:pt>
                <c:pt idx="1844">
                  <c:v>45157</c:v>
                </c:pt>
                <c:pt idx="1845">
                  <c:v>45158</c:v>
                </c:pt>
                <c:pt idx="1846">
                  <c:v>45159</c:v>
                </c:pt>
                <c:pt idx="1847">
                  <c:v>45160</c:v>
                </c:pt>
                <c:pt idx="1848">
                  <c:v>45161</c:v>
                </c:pt>
                <c:pt idx="1849">
                  <c:v>45162</c:v>
                </c:pt>
                <c:pt idx="1850">
                  <c:v>45163</c:v>
                </c:pt>
                <c:pt idx="1851">
                  <c:v>45164</c:v>
                </c:pt>
                <c:pt idx="1852">
                  <c:v>45165</c:v>
                </c:pt>
                <c:pt idx="1853">
                  <c:v>45166</c:v>
                </c:pt>
                <c:pt idx="1854">
                  <c:v>45167</c:v>
                </c:pt>
                <c:pt idx="1855">
                  <c:v>45168</c:v>
                </c:pt>
                <c:pt idx="1856">
                  <c:v>45169</c:v>
                </c:pt>
                <c:pt idx="1857">
                  <c:v>45170</c:v>
                </c:pt>
                <c:pt idx="1858">
                  <c:v>45171</c:v>
                </c:pt>
                <c:pt idx="1859">
                  <c:v>45172</c:v>
                </c:pt>
                <c:pt idx="1860">
                  <c:v>45173</c:v>
                </c:pt>
                <c:pt idx="1861">
                  <c:v>45174</c:v>
                </c:pt>
                <c:pt idx="1862">
                  <c:v>45175</c:v>
                </c:pt>
                <c:pt idx="1863">
                  <c:v>45176</c:v>
                </c:pt>
                <c:pt idx="1864">
                  <c:v>45177</c:v>
                </c:pt>
                <c:pt idx="1865">
                  <c:v>45178</c:v>
                </c:pt>
                <c:pt idx="1866">
                  <c:v>45179</c:v>
                </c:pt>
                <c:pt idx="1867">
                  <c:v>45180</c:v>
                </c:pt>
                <c:pt idx="1868">
                  <c:v>45181</c:v>
                </c:pt>
                <c:pt idx="1869">
                  <c:v>45182</c:v>
                </c:pt>
                <c:pt idx="1870">
                  <c:v>45183</c:v>
                </c:pt>
                <c:pt idx="1871">
                  <c:v>45184</c:v>
                </c:pt>
                <c:pt idx="1872">
                  <c:v>45185</c:v>
                </c:pt>
                <c:pt idx="1873">
                  <c:v>45186</c:v>
                </c:pt>
                <c:pt idx="1874">
                  <c:v>45187</c:v>
                </c:pt>
                <c:pt idx="1875">
                  <c:v>45188</c:v>
                </c:pt>
                <c:pt idx="1876">
                  <c:v>45189</c:v>
                </c:pt>
                <c:pt idx="1877">
                  <c:v>45190</c:v>
                </c:pt>
                <c:pt idx="1878">
                  <c:v>45191</c:v>
                </c:pt>
                <c:pt idx="1879">
                  <c:v>45192</c:v>
                </c:pt>
                <c:pt idx="1880">
                  <c:v>45193</c:v>
                </c:pt>
                <c:pt idx="1881">
                  <c:v>45194</c:v>
                </c:pt>
                <c:pt idx="1882">
                  <c:v>45195</c:v>
                </c:pt>
                <c:pt idx="1883">
                  <c:v>45196</c:v>
                </c:pt>
                <c:pt idx="1884">
                  <c:v>45197</c:v>
                </c:pt>
                <c:pt idx="1885">
                  <c:v>45198</c:v>
                </c:pt>
                <c:pt idx="1886">
                  <c:v>45199</c:v>
                </c:pt>
                <c:pt idx="1887">
                  <c:v>45200</c:v>
                </c:pt>
                <c:pt idx="1888">
                  <c:v>45201</c:v>
                </c:pt>
                <c:pt idx="1889">
                  <c:v>45202</c:v>
                </c:pt>
                <c:pt idx="1890">
                  <c:v>45203</c:v>
                </c:pt>
                <c:pt idx="1891">
                  <c:v>45204</c:v>
                </c:pt>
                <c:pt idx="1892">
                  <c:v>45205</c:v>
                </c:pt>
                <c:pt idx="1893">
                  <c:v>45206</c:v>
                </c:pt>
                <c:pt idx="1894">
                  <c:v>45207</c:v>
                </c:pt>
                <c:pt idx="1895">
                  <c:v>45208</c:v>
                </c:pt>
                <c:pt idx="1896">
                  <c:v>45209</c:v>
                </c:pt>
                <c:pt idx="1897">
                  <c:v>45210</c:v>
                </c:pt>
                <c:pt idx="1898">
                  <c:v>45211</c:v>
                </c:pt>
                <c:pt idx="1899">
                  <c:v>45212</c:v>
                </c:pt>
                <c:pt idx="1900">
                  <c:v>45213</c:v>
                </c:pt>
                <c:pt idx="1901">
                  <c:v>45214</c:v>
                </c:pt>
                <c:pt idx="1902">
                  <c:v>45215</c:v>
                </c:pt>
                <c:pt idx="1903">
                  <c:v>45216</c:v>
                </c:pt>
                <c:pt idx="1904">
                  <c:v>45217</c:v>
                </c:pt>
                <c:pt idx="1905">
                  <c:v>45218</c:v>
                </c:pt>
                <c:pt idx="1906">
                  <c:v>45219</c:v>
                </c:pt>
                <c:pt idx="1907">
                  <c:v>45220</c:v>
                </c:pt>
                <c:pt idx="1908">
                  <c:v>45221</c:v>
                </c:pt>
                <c:pt idx="1909">
                  <c:v>45222</c:v>
                </c:pt>
                <c:pt idx="1910">
                  <c:v>45223</c:v>
                </c:pt>
                <c:pt idx="1911">
                  <c:v>45224</c:v>
                </c:pt>
                <c:pt idx="1912">
                  <c:v>45225</c:v>
                </c:pt>
                <c:pt idx="1913">
                  <c:v>45226</c:v>
                </c:pt>
                <c:pt idx="1914">
                  <c:v>45227</c:v>
                </c:pt>
                <c:pt idx="1915">
                  <c:v>45228</c:v>
                </c:pt>
                <c:pt idx="1916">
                  <c:v>45229</c:v>
                </c:pt>
                <c:pt idx="1917">
                  <c:v>45230</c:v>
                </c:pt>
                <c:pt idx="1918">
                  <c:v>45231</c:v>
                </c:pt>
                <c:pt idx="1919">
                  <c:v>45232</c:v>
                </c:pt>
                <c:pt idx="1920">
                  <c:v>45233</c:v>
                </c:pt>
                <c:pt idx="1921">
                  <c:v>45234</c:v>
                </c:pt>
                <c:pt idx="1922">
                  <c:v>45235</c:v>
                </c:pt>
                <c:pt idx="1923">
                  <c:v>45236</c:v>
                </c:pt>
                <c:pt idx="1924">
                  <c:v>45237</c:v>
                </c:pt>
                <c:pt idx="1925">
                  <c:v>45238</c:v>
                </c:pt>
                <c:pt idx="1926">
                  <c:v>45239</c:v>
                </c:pt>
                <c:pt idx="1927">
                  <c:v>45240</c:v>
                </c:pt>
                <c:pt idx="1928">
                  <c:v>45241</c:v>
                </c:pt>
                <c:pt idx="1929">
                  <c:v>45242</c:v>
                </c:pt>
                <c:pt idx="1930">
                  <c:v>45243</c:v>
                </c:pt>
                <c:pt idx="1931">
                  <c:v>45244</c:v>
                </c:pt>
                <c:pt idx="1932">
                  <c:v>45245</c:v>
                </c:pt>
                <c:pt idx="1933">
                  <c:v>45246</c:v>
                </c:pt>
                <c:pt idx="1934">
                  <c:v>45247</c:v>
                </c:pt>
                <c:pt idx="1935">
                  <c:v>45248</c:v>
                </c:pt>
                <c:pt idx="1936">
                  <c:v>45249</c:v>
                </c:pt>
              </c:numCache>
            </c:numRef>
          </c:cat>
          <c:val>
            <c:numRef>
              <c:f>'Sheet 1'!$E$2:$E$1938</c:f>
              <c:numCache>
                <c:formatCode>General</c:formatCode>
                <c:ptCount val="1937"/>
                <c:pt idx="0">
                  <c:v>114.8</c:v>
                </c:pt>
                <c:pt idx="1">
                  <c:v>122.9</c:v>
                </c:pt>
                <c:pt idx="2">
                  <c:v>124.8</c:v>
                </c:pt>
                <c:pt idx="3">
                  <c:v>93.7</c:v>
                </c:pt>
                <c:pt idx="4">
                  <c:v>83</c:v>
                </c:pt>
                <c:pt idx="5">
                  <c:v>109.5</c:v>
                </c:pt>
                <c:pt idx="6">
                  <c:v>115.5</c:v>
                </c:pt>
                <c:pt idx="7">
                  <c:v>112.3</c:v>
                </c:pt>
                <c:pt idx="8">
                  <c:v>108.5</c:v>
                </c:pt>
                <c:pt idx="9">
                  <c:v>118.9</c:v>
                </c:pt>
                <c:pt idx="10">
                  <c:v>90.9</c:v>
                </c:pt>
                <c:pt idx="11">
                  <c:v>85</c:v>
                </c:pt>
                <c:pt idx="12">
                  <c:v>120.2</c:v>
                </c:pt>
                <c:pt idx="13">
                  <c:v>112.5</c:v>
                </c:pt>
                <c:pt idx="14">
                  <c:v>87.6</c:v>
                </c:pt>
                <c:pt idx="15">
                  <c:v>104.9</c:v>
                </c:pt>
                <c:pt idx="16">
                  <c:v>109.5</c:v>
                </c:pt>
                <c:pt idx="17">
                  <c:v>84.2</c:v>
                </c:pt>
                <c:pt idx="18">
                  <c:v>81.7</c:v>
                </c:pt>
                <c:pt idx="19">
                  <c:v>110.5</c:v>
                </c:pt>
                <c:pt idx="20">
                  <c:v>123.9</c:v>
                </c:pt>
                <c:pt idx="21">
                  <c:v>139.9</c:v>
                </c:pt>
                <c:pt idx="22">
                  <c:v>133</c:v>
                </c:pt>
                <c:pt idx="23">
                  <c:v>126.3</c:v>
                </c:pt>
                <c:pt idx="24">
                  <c:v>118.2</c:v>
                </c:pt>
                <c:pt idx="25">
                  <c:v>106.3</c:v>
                </c:pt>
                <c:pt idx="26">
                  <c:v>117.6</c:v>
                </c:pt>
                <c:pt idx="27">
                  <c:v>121</c:v>
                </c:pt>
                <c:pt idx="28">
                  <c:v>130.9</c:v>
                </c:pt>
                <c:pt idx="29">
                  <c:v>129.80000000000001</c:v>
                </c:pt>
                <c:pt idx="30">
                  <c:v>116.7</c:v>
                </c:pt>
                <c:pt idx="31">
                  <c:v>83</c:v>
                </c:pt>
                <c:pt idx="32">
                  <c:v>82.2</c:v>
                </c:pt>
                <c:pt idx="33">
                  <c:v>114.6</c:v>
                </c:pt>
                <c:pt idx="34">
                  <c:v>112.2</c:v>
                </c:pt>
                <c:pt idx="35">
                  <c:v>115.8</c:v>
                </c:pt>
                <c:pt idx="36">
                  <c:v>109.5</c:v>
                </c:pt>
                <c:pt idx="37">
                  <c:v>108.2</c:v>
                </c:pt>
                <c:pt idx="38">
                  <c:v>86.8</c:v>
                </c:pt>
                <c:pt idx="39">
                  <c:v>79.8</c:v>
                </c:pt>
                <c:pt idx="40">
                  <c:v>98.7</c:v>
                </c:pt>
                <c:pt idx="41">
                  <c:v>82.7</c:v>
                </c:pt>
                <c:pt idx="42">
                  <c:v>89.2</c:v>
                </c:pt>
                <c:pt idx="43">
                  <c:v>109.4</c:v>
                </c:pt>
                <c:pt idx="44">
                  <c:v>107.1</c:v>
                </c:pt>
                <c:pt idx="45">
                  <c:v>80.099999999999994</c:v>
                </c:pt>
                <c:pt idx="46">
                  <c:v>73</c:v>
                </c:pt>
                <c:pt idx="47">
                  <c:v>101</c:v>
                </c:pt>
                <c:pt idx="48">
                  <c:v>110</c:v>
                </c:pt>
                <c:pt idx="49">
                  <c:v>104.4</c:v>
                </c:pt>
                <c:pt idx="50">
                  <c:v>106.6</c:v>
                </c:pt>
                <c:pt idx="51">
                  <c:v>112.3</c:v>
                </c:pt>
                <c:pt idx="52">
                  <c:v>93.6</c:v>
                </c:pt>
                <c:pt idx="53">
                  <c:v>83</c:v>
                </c:pt>
                <c:pt idx="54">
                  <c:v>102.7</c:v>
                </c:pt>
                <c:pt idx="55">
                  <c:v>132</c:v>
                </c:pt>
                <c:pt idx="56">
                  <c:v>126.4</c:v>
                </c:pt>
                <c:pt idx="57">
                  <c:v>133.6</c:v>
                </c:pt>
                <c:pt idx="58">
                  <c:v>147.1</c:v>
                </c:pt>
                <c:pt idx="59">
                  <c:v>107.9</c:v>
                </c:pt>
                <c:pt idx="60">
                  <c:v>104.7</c:v>
                </c:pt>
                <c:pt idx="61">
                  <c:v>116.7</c:v>
                </c:pt>
                <c:pt idx="62">
                  <c:v>134.9</c:v>
                </c:pt>
                <c:pt idx="63">
                  <c:v>143.19999999999999</c:v>
                </c:pt>
                <c:pt idx="64">
                  <c:v>163.69999999999999</c:v>
                </c:pt>
                <c:pt idx="65">
                  <c:v>160</c:v>
                </c:pt>
                <c:pt idx="66">
                  <c:v>131.6</c:v>
                </c:pt>
                <c:pt idx="67">
                  <c:v>116.7</c:v>
                </c:pt>
                <c:pt idx="68">
                  <c:v>171.2</c:v>
                </c:pt>
                <c:pt idx="69">
                  <c:v>174</c:v>
                </c:pt>
                <c:pt idx="70">
                  <c:v>181.7</c:v>
                </c:pt>
                <c:pt idx="71">
                  <c:v>179.3</c:v>
                </c:pt>
                <c:pt idx="72">
                  <c:v>166.6</c:v>
                </c:pt>
                <c:pt idx="73">
                  <c:v>158.1</c:v>
                </c:pt>
                <c:pt idx="74">
                  <c:v>146.30000000000001</c:v>
                </c:pt>
                <c:pt idx="75">
                  <c:v>211.7</c:v>
                </c:pt>
                <c:pt idx="76">
                  <c:v>223.6</c:v>
                </c:pt>
                <c:pt idx="77">
                  <c:v>220.8</c:v>
                </c:pt>
                <c:pt idx="78">
                  <c:v>205.7</c:v>
                </c:pt>
                <c:pt idx="79">
                  <c:v>211.4</c:v>
                </c:pt>
                <c:pt idx="80">
                  <c:v>184.2</c:v>
                </c:pt>
                <c:pt idx="81">
                  <c:v>178.1</c:v>
                </c:pt>
                <c:pt idx="82">
                  <c:v>216.1</c:v>
                </c:pt>
                <c:pt idx="83">
                  <c:v>225.6</c:v>
                </c:pt>
                <c:pt idx="84">
                  <c:v>216.9</c:v>
                </c:pt>
                <c:pt idx="85">
                  <c:v>196.9</c:v>
                </c:pt>
                <c:pt idx="86">
                  <c:v>203.7</c:v>
                </c:pt>
                <c:pt idx="87">
                  <c:v>179.3</c:v>
                </c:pt>
                <c:pt idx="88">
                  <c:v>170</c:v>
                </c:pt>
                <c:pt idx="89">
                  <c:v>208.7</c:v>
                </c:pt>
                <c:pt idx="90">
                  <c:v>211.3</c:v>
                </c:pt>
                <c:pt idx="91">
                  <c:v>210</c:v>
                </c:pt>
                <c:pt idx="92">
                  <c:v>218.7</c:v>
                </c:pt>
                <c:pt idx="93">
                  <c:v>238.4</c:v>
                </c:pt>
                <c:pt idx="94">
                  <c:v>211.4</c:v>
                </c:pt>
                <c:pt idx="95">
                  <c:v>194.2</c:v>
                </c:pt>
                <c:pt idx="96">
                  <c:v>224.3</c:v>
                </c:pt>
                <c:pt idx="97">
                  <c:v>221.8</c:v>
                </c:pt>
                <c:pt idx="98">
                  <c:v>229.6</c:v>
                </c:pt>
                <c:pt idx="99">
                  <c:v>223.4</c:v>
                </c:pt>
                <c:pt idx="100">
                  <c:v>198.5</c:v>
                </c:pt>
                <c:pt idx="101">
                  <c:v>165.8</c:v>
                </c:pt>
                <c:pt idx="102">
                  <c:v>172.9</c:v>
                </c:pt>
                <c:pt idx="103">
                  <c:v>200.4</c:v>
                </c:pt>
                <c:pt idx="104">
                  <c:v>189.8</c:v>
                </c:pt>
                <c:pt idx="105">
                  <c:v>198.7</c:v>
                </c:pt>
                <c:pt idx="106">
                  <c:v>187.1</c:v>
                </c:pt>
                <c:pt idx="107">
                  <c:v>176.3</c:v>
                </c:pt>
                <c:pt idx="108">
                  <c:v>153.4</c:v>
                </c:pt>
                <c:pt idx="109">
                  <c:v>151.80000000000001</c:v>
                </c:pt>
                <c:pt idx="110">
                  <c:v>217.3</c:v>
                </c:pt>
                <c:pt idx="111">
                  <c:v>221.7</c:v>
                </c:pt>
                <c:pt idx="112">
                  <c:v>218.9</c:v>
                </c:pt>
                <c:pt idx="113">
                  <c:v>208.2</c:v>
                </c:pt>
                <c:pt idx="114">
                  <c:v>212.2</c:v>
                </c:pt>
                <c:pt idx="115">
                  <c:v>204.7</c:v>
                </c:pt>
                <c:pt idx="116">
                  <c:v>182.5</c:v>
                </c:pt>
                <c:pt idx="117">
                  <c:v>206.9</c:v>
                </c:pt>
                <c:pt idx="118">
                  <c:v>228</c:v>
                </c:pt>
                <c:pt idx="119">
                  <c:v>228.3</c:v>
                </c:pt>
                <c:pt idx="120">
                  <c:v>227.6</c:v>
                </c:pt>
                <c:pt idx="121">
                  <c:v>220.2</c:v>
                </c:pt>
                <c:pt idx="122">
                  <c:v>169.3</c:v>
                </c:pt>
                <c:pt idx="123">
                  <c:v>159.19999999999999</c:v>
                </c:pt>
                <c:pt idx="124">
                  <c:v>194.9</c:v>
                </c:pt>
                <c:pt idx="125">
                  <c:v>201.8</c:v>
                </c:pt>
                <c:pt idx="126">
                  <c:v>209.5</c:v>
                </c:pt>
                <c:pt idx="127">
                  <c:v>192.3</c:v>
                </c:pt>
                <c:pt idx="128">
                  <c:v>180</c:v>
                </c:pt>
                <c:pt idx="129">
                  <c:v>170.1</c:v>
                </c:pt>
                <c:pt idx="130">
                  <c:v>150.1</c:v>
                </c:pt>
                <c:pt idx="131">
                  <c:v>191.6</c:v>
                </c:pt>
                <c:pt idx="132">
                  <c:v>211.5</c:v>
                </c:pt>
                <c:pt idx="133">
                  <c:v>205.7</c:v>
                </c:pt>
                <c:pt idx="134">
                  <c:v>208.8</c:v>
                </c:pt>
                <c:pt idx="135">
                  <c:v>217.2</c:v>
                </c:pt>
                <c:pt idx="136">
                  <c:v>180.2</c:v>
                </c:pt>
                <c:pt idx="137">
                  <c:v>151.19999999999999</c:v>
                </c:pt>
                <c:pt idx="138">
                  <c:v>205.4</c:v>
                </c:pt>
                <c:pt idx="139">
                  <c:v>175.3</c:v>
                </c:pt>
                <c:pt idx="140">
                  <c:v>187.9</c:v>
                </c:pt>
                <c:pt idx="141">
                  <c:v>192.8</c:v>
                </c:pt>
                <c:pt idx="142">
                  <c:v>181.6</c:v>
                </c:pt>
                <c:pt idx="143">
                  <c:v>144.69999999999999</c:v>
                </c:pt>
                <c:pt idx="144">
                  <c:v>127.1</c:v>
                </c:pt>
                <c:pt idx="145">
                  <c:v>129.4</c:v>
                </c:pt>
                <c:pt idx="146">
                  <c:v>161.69999999999999</c:v>
                </c:pt>
                <c:pt idx="147">
                  <c:v>163.6</c:v>
                </c:pt>
                <c:pt idx="148">
                  <c:v>178.3</c:v>
                </c:pt>
                <c:pt idx="149">
                  <c:v>198.8</c:v>
                </c:pt>
                <c:pt idx="150">
                  <c:v>183.9</c:v>
                </c:pt>
                <c:pt idx="151">
                  <c:v>191.5</c:v>
                </c:pt>
                <c:pt idx="152">
                  <c:v>207</c:v>
                </c:pt>
                <c:pt idx="153">
                  <c:v>172.6</c:v>
                </c:pt>
                <c:pt idx="154">
                  <c:v>199</c:v>
                </c:pt>
                <c:pt idx="155">
                  <c:v>208.1</c:v>
                </c:pt>
                <c:pt idx="156">
                  <c:v>214.9</c:v>
                </c:pt>
                <c:pt idx="157">
                  <c:v>205.9</c:v>
                </c:pt>
                <c:pt idx="158">
                  <c:v>180.4</c:v>
                </c:pt>
                <c:pt idx="159">
                  <c:v>242.6</c:v>
                </c:pt>
                <c:pt idx="160">
                  <c:v>243.6</c:v>
                </c:pt>
                <c:pt idx="161">
                  <c:v>238.5</c:v>
                </c:pt>
                <c:pt idx="162">
                  <c:v>228.9</c:v>
                </c:pt>
                <c:pt idx="163">
                  <c:v>236.5</c:v>
                </c:pt>
                <c:pt idx="164">
                  <c:v>207.1</c:v>
                </c:pt>
                <c:pt idx="165">
                  <c:v>186.5</c:v>
                </c:pt>
                <c:pt idx="166">
                  <c:v>217</c:v>
                </c:pt>
                <c:pt idx="167">
                  <c:v>213.8</c:v>
                </c:pt>
                <c:pt idx="168">
                  <c:v>218.1</c:v>
                </c:pt>
                <c:pt idx="169">
                  <c:v>205.4</c:v>
                </c:pt>
                <c:pt idx="170">
                  <c:v>195.8</c:v>
                </c:pt>
                <c:pt idx="171">
                  <c:v>172</c:v>
                </c:pt>
                <c:pt idx="172">
                  <c:v>151.6</c:v>
                </c:pt>
                <c:pt idx="173">
                  <c:v>218.1</c:v>
                </c:pt>
                <c:pt idx="174">
                  <c:v>215.1</c:v>
                </c:pt>
                <c:pt idx="175">
                  <c:v>214.7</c:v>
                </c:pt>
                <c:pt idx="176">
                  <c:v>224.8</c:v>
                </c:pt>
                <c:pt idx="177">
                  <c:v>192.7</c:v>
                </c:pt>
                <c:pt idx="178">
                  <c:v>157.9</c:v>
                </c:pt>
                <c:pt idx="179">
                  <c:v>133.6</c:v>
                </c:pt>
                <c:pt idx="180">
                  <c:v>208</c:v>
                </c:pt>
                <c:pt idx="181">
                  <c:v>218.9</c:v>
                </c:pt>
                <c:pt idx="182">
                  <c:v>215.3</c:v>
                </c:pt>
                <c:pt idx="183">
                  <c:v>208.2</c:v>
                </c:pt>
                <c:pt idx="184">
                  <c:v>186.6</c:v>
                </c:pt>
                <c:pt idx="185">
                  <c:v>167.6</c:v>
                </c:pt>
                <c:pt idx="186">
                  <c:v>158.19999999999999</c:v>
                </c:pt>
                <c:pt idx="187">
                  <c:v>207.8</c:v>
                </c:pt>
                <c:pt idx="188">
                  <c:v>198.2</c:v>
                </c:pt>
                <c:pt idx="189">
                  <c:v>188.5</c:v>
                </c:pt>
                <c:pt idx="190">
                  <c:v>180.1</c:v>
                </c:pt>
                <c:pt idx="191">
                  <c:v>181.9</c:v>
                </c:pt>
                <c:pt idx="192">
                  <c:v>160.5</c:v>
                </c:pt>
                <c:pt idx="193">
                  <c:v>142.80000000000001</c:v>
                </c:pt>
                <c:pt idx="194">
                  <c:v>208.9</c:v>
                </c:pt>
                <c:pt idx="195">
                  <c:v>234.1</c:v>
                </c:pt>
                <c:pt idx="196">
                  <c:v>228.4</c:v>
                </c:pt>
                <c:pt idx="197">
                  <c:v>234.6</c:v>
                </c:pt>
                <c:pt idx="198">
                  <c:v>211.7</c:v>
                </c:pt>
                <c:pt idx="199">
                  <c:v>193.6</c:v>
                </c:pt>
                <c:pt idx="200">
                  <c:v>172.9</c:v>
                </c:pt>
                <c:pt idx="201">
                  <c:v>219</c:v>
                </c:pt>
                <c:pt idx="202">
                  <c:v>225.3</c:v>
                </c:pt>
                <c:pt idx="203">
                  <c:v>225.9</c:v>
                </c:pt>
                <c:pt idx="204">
                  <c:v>228.4</c:v>
                </c:pt>
                <c:pt idx="205">
                  <c:v>198.6</c:v>
                </c:pt>
                <c:pt idx="206">
                  <c:v>205.6</c:v>
                </c:pt>
                <c:pt idx="207">
                  <c:v>200.1</c:v>
                </c:pt>
                <c:pt idx="208">
                  <c:v>246.2</c:v>
                </c:pt>
                <c:pt idx="209">
                  <c:v>243.9</c:v>
                </c:pt>
                <c:pt idx="210">
                  <c:v>230</c:v>
                </c:pt>
                <c:pt idx="211">
                  <c:v>250.4</c:v>
                </c:pt>
                <c:pt idx="212">
                  <c:v>267</c:v>
                </c:pt>
                <c:pt idx="213">
                  <c:v>251.5</c:v>
                </c:pt>
                <c:pt idx="214">
                  <c:v>221</c:v>
                </c:pt>
                <c:pt idx="215">
                  <c:v>247.1</c:v>
                </c:pt>
                <c:pt idx="216">
                  <c:v>255.5</c:v>
                </c:pt>
                <c:pt idx="217">
                  <c:v>258.7</c:v>
                </c:pt>
                <c:pt idx="218">
                  <c:v>257.60000000000002</c:v>
                </c:pt>
                <c:pt idx="219">
                  <c:v>268</c:v>
                </c:pt>
                <c:pt idx="220">
                  <c:v>230.3</c:v>
                </c:pt>
                <c:pt idx="221">
                  <c:v>230.7</c:v>
                </c:pt>
                <c:pt idx="222">
                  <c:v>267.2</c:v>
                </c:pt>
                <c:pt idx="223">
                  <c:v>268.8</c:v>
                </c:pt>
                <c:pt idx="224">
                  <c:v>257.7</c:v>
                </c:pt>
                <c:pt idx="225">
                  <c:v>270.8</c:v>
                </c:pt>
                <c:pt idx="226">
                  <c:v>274.3</c:v>
                </c:pt>
                <c:pt idx="227">
                  <c:v>240.1</c:v>
                </c:pt>
                <c:pt idx="228">
                  <c:v>230.7</c:v>
                </c:pt>
                <c:pt idx="229">
                  <c:v>276</c:v>
                </c:pt>
                <c:pt idx="230">
                  <c:v>274.89999999999998</c:v>
                </c:pt>
                <c:pt idx="231">
                  <c:v>269</c:v>
                </c:pt>
                <c:pt idx="232">
                  <c:v>258.2</c:v>
                </c:pt>
                <c:pt idx="233">
                  <c:v>280.8</c:v>
                </c:pt>
                <c:pt idx="234">
                  <c:v>273.5</c:v>
                </c:pt>
                <c:pt idx="235">
                  <c:v>272.5</c:v>
                </c:pt>
                <c:pt idx="236">
                  <c:v>297.3</c:v>
                </c:pt>
                <c:pt idx="237">
                  <c:v>281.2</c:v>
                </c:pt>
                <c:pt idx="238">
                  <c:v>299</c:v>
                </c:pt>
                <c:pt idx="239">
                  <c:v>298</c:v>
                </c:pt>
                <c:pt idx="240">
                  <c:v>280.8</c:v>
                </c:pt>
                <c:pt idx="241">
                  <c:v>251.7</c:v>
                </c:pt>
                <c:pt idx="242">
                  <c:v>250.4</c:v>
                </c:pt>
                <c:pt idx="243">
                  <c:v>284</c:v>
                </c:pt>
                <c:pt idx="244">
                  <c:v>299</c:v>
                </c:pt>
                <c:pt idx="245">
                  <c:v>302.89999999999998</c:v>
                </c:pt>
                <c:pt idx="246">
                  <c:v>321.89999999999998</c:v>
                </c:pt>
                <c:pt idx="247">
                  <c:v>292.5</c:v>
                </c:pt>
                <c:pt idx="248">
                  <c:v>271.8</c:v>
                </c:pt>
                <c:pt idx="249">
                  <c:v>262.7</c:v>
                </c:pt>
                <c:pt idx="250">
                  <c:v>288.5</c:v>
                </c:pt>
                <c:pt idx="251">
                  <c:v>294.8</c:v>
                </c:pt>
                <c:pt idx="252">
                  <c:v>272.3</c:v>
                </c:pt>
                <c:pt idx="253">
                  <c:v>287.60000000000002</c:v>
                </c:pt>
                <c:pt idx="254">
                  <c:v>302</c:v>
                </c:pt>
                <c:pt idx="255">
                  <c:v>274.2</c:v>
                </c:pt>
                <c:pt idx="256">
                  <c:v>250.7</c:v>
                </c:pt>
                <c:pt idx="257">
                  <c:v>281.7</c:v>
                </c:pt>
                <c:pt idx="258">
                  <c:v>291.3</c:v>
                </c:pt>
                <c:pt idx="259">
                  <c:v>308.39999999999998</c:v>
                </c:pt>
                <c:pt idx="260">
                  <c:v>327.8</c:v>
                </c:pt>
                <c:pt idx="261">
                  <c:v>292.8</c:v>
                </c:pt>
                <c:pt idx="262">
                  <c:v>269.60000000000002</c:v>
                </c:pt>
                <c:pt idx="263">
                  <c:v>275</c:v>
                </c:pt>
                <c:pt idx="264">
                  <c:v>275.5</c:v>
                </c:pt>
                <c:pt idx="265">
                  <c:v>286</c:v>
                </c:pt>
                <c:pt idx="266">
                  <c:v>285.60000000000002</c:v>
                </c:pt>
                <c:pt idx="267">
                  <c:v>267.7</c:v>
                </c:pt>
                <c:pt idx="268">
                  <c:v>287.7</c:v>
                </c:pt>
                <c:pt idx="269">
                  <c:v>259.10000000000002</c:v>
                </c:pt>
                <c:pt idx="270">
                  <c:v>255.4</c:v>
                </c:pt>
                <c:pt idx="271">
                  <c:v>286.89999999999998</c:v>
                </c:pt>
                <c:pt idx="272">
                  <c:v>289.5</c:v>
                </c:pt>
                <c:pt idx="273">
                  <c:v>239.8</c:v>
                </c:pt>
                <c:pt idx="274">
                  <c:v>260.3</c:v>
                </c:pt>
                <c:pt idx="275">
                  <c:v>276.60000000000002</c:v>
                </c:pt>
                <c:pt idx="276">
                  <c:v>262.7</c:v>
                </c:pt>
                <c:pt idx="277">
                  <c:v>261</c:v>
                </c:pt>
                <c:pt idx="278">
                  <c:v>286.5</c:v>
                </c:pt>
                <c:pt idx="279">
                  <c:v>278.8</c:v>
                </c:pt>
                <c:pt idx="280">
                  <c:v>257.7</c:v>
                </c:pt>
                <c:pt idx="281">
                  <c:v>268.39999999999998</c:v>
                </c:pt>
                <c:pt idx="282">
                  <c:v>274.5</c:v>
                </c:pt>
                <c:pt idx="283">
                  <c:v>225.3</c:v>
                </c:pt>
                <c:pt idx="284">
                  <c:v>204.8</c:v>
                </c:pt>
                <c:pt idx="285">
                  <c:v>228.3</c:v>
                </c:pt>
                <c:pt idx="286">
                  <c:v>240.2</c:v>
                </c:pt>
                <c:pt idx="287">
                  <c:v>225.6</c:v>
                </c:pt>
                <c:pt idx="288">
                  <c:v>244.1</c:v>
                </c:pt>
                <c:pt idx="289">
                  <c:v>244.5</c:v>
                </c:pt>
                <c:pt idx="290">
                  <c:v>222.9</c:v>
                </c:pt>
                <c:pt idx="291">
                  <c:v>222</c:v>
                </c:pt>
                <c:pt idx="292">
                  <c:v>270.5</c:v>
                </c:pt>
                <c:pt idx="293">
                  <c:v>277.3</c:v>
                </c:pt>
                <c:pt idx="294">
                  <c:v>276.3</c:v>
                </c:pt>
                <c:pt idx="295">
                  <c:v>285.89999999999998</c:v>
                </c:pt>
                <c:pt idx="296">
                  <c:v>264.60000000000002</c:v>
                </c:pt>
                <c:pt idx="297">
                  <c:v>236</c:v>
                </c:pt>
                <c:pt idx="298">
                  <c:v>220.1</c:v>
                </c:pt>
                <c:pt idx="299">
                  <c:v>245.8</c:v>
                </c:pt>
                <c:pt idx="300">
                  <c:v>252.4</c:v>
                </c:pt>
                <c:pt idx="301">
                  <c:v>250.4</c:v>
                </c:pt>
                <c:pt idx="302">
                  <c:v>249.6</c:v>
                </c:pt>
                <c:pt idx="303">
                  <c:v>258.60000000000002</c:v>
                </c:pt>
                <c:pt idx="304">
                  <c:v>247.5</c:v>
                </c:pt>
                <c:pt idx="305">
                  <c:v>245.7</c:v>
                </c:pt>
                <c:pt idx="306">
                  <c:v>264.8</c:v>
                </c:pt>
                <c:pt idx="307">
                  <c:v>273.7</c:v>
                </c:pt>
                <c:pt idx="308">
                  <c:v>275.39999999999998</c:v>
                </c:pt>
                <c:pt idx="309">
                  <c:v>269.2</c:v>
                </c:pt>
                <c:pt idx="310">
                  <c:v>285.39999999999998</c:v>
                </c:pt>
                <c:pt idx="311">
                  <c:v>246.8</c:v>
                </c:pt>
                <c:pt idx="312">
                  <c:v>241.4</c:v>
                </c:pt>
                <c:pt idx="313">
                  <c:v>280.5</c:v>
                </c:pt>
                <c:pt idx="314">
                  <c:v>289.5</c:v>
                </c:pt>
                <c:pt idx="315">
                  <c:v>298.5</c:v>
                </c:pt>
                <c:pt idx="316">
                  <c:v>276.7</c:v>
                </c:pt>
                <c:pt idx="317">
                  <c:v>278.8</c:v>
                </c:pt>
                <c:pt idx="318">
                  <c:v>243</c:v>
                </c:pt>
                <c:pt idx="319">
                  <c:v>246.2</c:v>
                </c:pt>
                <c:pt idx="320">
                  <c:v>283.3</c:v>
                </c:pt>
                <c:pt idx="321">
                  <c:v>267.10000000000002</c:v>
                </c:pt>
                <c:pt idx="322">
                  <c:v>266.3</c:v>
                </c:pt>
                <c:pt idx="323">
                  <c:v>262.39999999999998</c:v>
                </c:pt>
                <c:pt idx="324">
                  <c:v>284.5</c:v>
                </c:pt>
                <c:pt idx="325">
                  <c:v>238.1</c:v>
                </c:pt>
                <c:pt idx="326">
                  <c:v>234.9</c:v>
                </c:pt>
                <c:pt idx="327">
                  <c:v>265.39999999999998</c:v>
                </c:pt>
                <c:pt idx="328">
                  <c:v>236.4</c:v>
                </c:pt>
                <c:pt idx="329">
                  <c:v>261.89999999999998</c:v>
                </c:pt>
                <c:pt idx="330">
                  <c:v>269.5</c:v>
                </c:pt>
                <c:pt idx="331">
                  <c:v>262.89999999999998</c:v>
                </c:pt>
                <c:pt idx="332">
                  <c:v>240.1</c:v>
                </c:pt>
                <c:pt idx="333">
                  <c:v>232.9</c:v>
                </c:pt>
                <c:pt idx="334">
                  <c:v>243.4</c:v>
                </c:pt>
                <c:pt idx="335">
                  <c:v>245.9</c:v>
                </c:pt>
                <c:pt idx="336">
                  <c:v>226.1</c:v>
                </c:pt>
                <c:pt idx="337">
                  <c:v>225.7</c:v>
                </c:pt>
                <c:pt idx="338">
                  <c:v>238.9</c:v>
                </c:pt>
                <c:pt idx="339">
                  <c:v>210.9</c:v>
                </c:pt>
                <c:pt idx="340">
                  <c:v>202.5</c:v>
                </c:pt>
                <c:pt idx="341">
                  <c:v>256.7</c:v>
                </c:pt>
                <c:pt idx="342">
                  <c:v>248</c:v>
                </c:pt>
                <c:pt idx="343">
                  <c:v>243.3</c:v>
                </c:pt>
                <c:pt idx="344">
                  <c:v>228.5</c:v>
                </c:pt>
                <c:pt idx="345">
                  <c:v>243.4</c:v>
                </c:pt>
                <c:pt idx="346">
                  <c:v>214.8</c:v>
                </c:pt>
                <c:pt idx="347">
                  <c:v>193.4</c:v>
                </c:pt>
                <c:pt idx="348">
                  <c:v>232.9</c:v>
                </c:pt>
                <c:pt idx="349">
                  <c:v>256.10000000000002</c:v>
                </c:pt>
                <c:pt idx="350">
                  <c:v>258.3</c:v>
                </c:pt>
                <c:pt idx="351">
                  <c:v>258.7</c:v>
                </c:pt>
                <c:pt idx="352">
                  <c:v>247.2</c:v>
                </c:pt>
                <c:pt idx="353">
                  <c:v>198.6</c:v>
                </c:pt>
                <c:pt idx="354">
                  <c:v>187.9</c:v>
                </c:pt>
                <c:pt idx="355">
                  <c:v>249.8</c:v>
                </c:pt>
                <c:pt idx="356">
                  <c:v>272.3</c:v>
                </c:pt>
                <c:pt idx="357">
                  <c:v>278.8</c:v>
                </c:pt>
                <c:pt idx="358">
                  <c:v>286.5</c:v>
                </c:pt>
                <c:pt idx="359">
                  <c:v>272.7</c:v>
                </c:pt>
                <c:pt idx="360">
                  <c:v>262.60000000000002</c:v>
                </c:pt>
                <c:pt idx="361">
                  <c:v>232.5</c:v>
                </c:pt>
                <c:pt idx="362">
                  <c:v>252.5</c:v>
                </c:pt>
                <c:pt idx="363">
                  <c:v>250.6</c:v>
                </c:pt>
                <c:pt idx="364">
                  <c:v>256.39999999999998</c:v>
                </c:pt>
                <c:pt idx="365">
                  <c:v>240.7</c:v>
                </c:pt>
                <c:pt idx="366">
                  <c:v>235.6</c:v>
                </c:pt>
                <c:pt idx="367">
                  <c:v>225.2</c:v>
                </c:pt>
                <c:pt idx="368">
                  <c:v>194.3</c:v>
                </c:pt>
                <c:pt idx="369">
                  <c:v>229.8</c:v>
                </c:pt>
                <c:pt idx="370">
                  <c:v>231</c:v>
                </c:pt>
                <c:pt idx="371">
                  <c:v>229.1</c:v>
                </c:pt>
                <c:pt idx="372">
                  <c:v>232.5</c:v>
                </c:pt>
                <c:pt idx="373">
                  <c:v>212.4</c:v>
                </c:pt>
                <c:pt idx="374">
                  <c:v>175.6</c:v>
                </c:pt>
                <c:pt idx="375">
                  <c:v>164.8</c:v>
                </c:pt>
                <c:pt idx="376">
                  <c:v>200.3</c:v>
                </c:pt>
                <c:pt idx="377">
                  <c:v>207.7</c:v>
                </c:pt>
                <c:pt idx="378">
                  <c:v>204.3</c:v>
                </c:pt>
                <c:pt idx="379">
                  <c:v>177.9</c:v>
                </c:pt>
                <c:pt idx="380">
                  <c:v>196.2</c:v>
                </c:pt>
                <c:pt idx="381">
                  <c:v>189</c:v>
                </c:pt>
                <c:pt idx="382">
                  <c:v>178</c:v>
                </c:pt>
                <c:pt idx="383">
                  <c:v>218.5</c:v>
                </c:pt>
                <c:pt idx="384">
                  <c:v>217.3</c:v>
                </c:pt>
                <c:pt idx="385">
                  <c:v>237</c:v>
                </c:pt>
                <c:pt idx="386">
                  <c:v>229.9</c:v>
                </c:pt>
                <c:pt idx="387">
                  <c:v>210.7</c:v>
                </c:pt>
                <c:pt idx="388">
                  <c:v>227.7</c:v>
                </c:pt>
                <c:pt idx="389">
                  <c:v>211.3</c:v>
                </c:pt>
                <c:pt idx="390">
                  <c:v>245.8</c:v>
                </c:pt>
                <c:pt idx="391">
                  <c:v>258.3</c:v>
                </c:pt>
                <c:pt idx="392">
                  <c:v>257.60000000000002</c:v>
                </c:pt>
                <c:pt idx="393">
                  <c:v>258.39999999999998</c:v>
                </c:pt>
                <c:pt idx="394">
                  <c:v>259.3</c:v>
                </c:pt>
                <c:pt idx="395">
                  <c:v>210.5</c:v>
                </c:pt>
                <c:pt idx="396">
                  <c:v>214.5</c:v>
                </c:pt>
                <c:pt idx="397">
                  <c:v>257.5</c:v>
                </c:pt>
                <c:pt idx="398">
                  <c:v>265.5</c:v>
                </c:pt>
                <c:pt idx="399">
                  <c:v>269</c:v>
                </c:pt>
                <c:pt idx="400">
                  <c:v>249</c:v>
                </c:pt>
                <c:pt idx="401">
                  <c:v>219.5</c:v>
                </c:pt>
                <c:pt idx="402">
                  <c:v>190.3</c:v>
                </c:pt>
                <c:pt idx="403">
                  <c:v>197.1</c:v>
                </c:pt>
                <c:pt idx="404">
                  <c:v>218.6</c:v>
                </c:pt>
                <c:pt idx="405">
                  <c:v>205.1</c:v>
                </c:pt>
                <c:pt idx="406">
                  <c:v>211.4</c:v>
                </c:pt>
                <c:pt idx="407">
                  <c:v>220.3</c:v>
                </c:pt>
                <c:pt idx="408">
                  <c:v>218.7</c:v>
                </c:pt>
                <c:pt idx="409">
                  <c:v>171.5</c:v>
                </c:pt>
                <c:pt idx="410">
                  <c:v>173.2</c:v>
                </c:pt>
                <c:pt idx="411">
                  <c:v>227.5</c:v>
                </c:pt>
                <c:pt idx="412">
                  <c:v>223.7</c:v>
                </c:pt>
                <c:pt idx="413">
                  <c:v>220.2</c:v>
                </c:pt>
                <c:pt idx="414">
                  <c:v>204.2</c:v>
                </c:pt>
                <c:pt idx="415">
                  <c:v>197.2</c:v>
                </c:pt>
                <c:pt idx="416">
                  <c:v>157.30000000000001</c:v>
                </c:pt>
                <c:pt idx="417">
                  <c:v>155.69999999999999</c:v>
                </c:pt>
                <c:pt idx="418">
                  <c:v>181.4</c:v>
                </c:pt>
                <c:pt idx="419">
                  <c:v>185.7</c:v>
                </c:pt>
                <c:pt idx="420">
                  <c:v>207.5</c:v>
                </c:pt>
                <c:pt idx="421">
                  <c:v>191.1</c:v>
                </c:pt>
                <c:pt idx="422">
                  <c:v>184</c:v>
                </c:pt>
                <c:pt idx="423">
                  <c:v>171</c:v>
                </c:pt>
                <c:pt idx="424">
                  <c:v>157.19999999999999</c:v>
                </c:pt>
                <c:pt idx="425">
                  <c:v>219.4</c:v>
                </c:pt>
                <c:pt idx="426">
                  <c:v>218.9</c:v>
                </c:pt>
                <c:pt idx="427">
                  <c:v>218.4</c:v>
                </c:pt>
                <c:pt idx="428">
                  <c:v>195.8</c:v>
                </c:pt>
                <c:pt idx="429">
                  <c:v>200.2</c:v>
                </c:pt>
                <c:pt idx="430">
                  <c:v>170.5</c:v>
                </c:pt>
                <c:pt idx="431">
                  <c:v>172.6</c:v>
                </c:pt>
                <c:pt idx="432">
                  <c:v>209.6</c:v>
                </c:pt>
                <c:pt idx="433">
                  <c:v>207.4</c:v>
                </c:pt>
                <c:pt idx="434">
                  <c:v>203</c:v>
                </c:pt>
                <c:pt idx="435">
                  <c:v>211.2</c:v>
                </c:pt>
                <c:pt idx="436">
                  <c:v>209.8</c:v>
                </c:pt>
                <c:pt idx="437">
                  <c:v>172</c:v>
                </c:pt>
                <c:pt idx="438">
                  <c:v>174.8</c:v>
                </c:pt>
                <c:pt idx="439">
                  <c:v>226.3</c:v>
                </c:pt>
                <c:pt idx="440">
                  <c:v>224.5</c:v>
                </c:pt>
                <c:pt idx="441">
                  <c:v>232.2</c:v>
                </c:pt>
                <c:pt idx="442">
                  <c:v>220.1</c:v>
                </c:pt>
                <c:pt idx="443">
                  <c:v>218.1</c:v>
                </c:pt>
                <c:pt idx="444">
                  <c:v>196.6</c:v>
                </c:pt>
                <c:pt idx="445">
                  <c:v>188.4</c:v>
                </c:pt>
                <c:pt idx="446">
                  <c:v>213</c:v>
                </c:pt>
                <c:pt idx="447">
                  <c:v>210.5</c:v>
                </c:pt>
                <c:pt idx="448">
                  <c:v>215.3</c:v>
                </c:pt>
                <c:pt idx="449">
                  <c:v>214.5</c:v>
                </c:pt>
                <c:pt idx="450">
                  <c:v>196.5</c:v>
                </c:pt>
                <c:pt idx="451">
                  <c:v>197</c:v>
                </c:pt>
                <c:pt idx="452">
                  <c:v>180.5</c:v>
                </c:pt>
                <c:pt idx="453">
                  <c:v>251.2</c:v>
                </c:pt>
                <c:pt idx="454">
                  <c:v>251.7</c:v>
                </c:pt>
                <c:pt idx="455">
                  <c:v>280.5</c:v>
                </c:pt>
                <c:pt idx="456">
                  <c:v>277.2</c:v>
                </c:pt>
                <c:pt idx="457">
                  <c:v>258.60000000000002</c:v>
                </c:pt>
                <c:pt idx="458">
                  <c:v>244.5</c:v>
                </c:pt>
                <c:pt idx="459">
                  <c:v>238</c:v>
                </c:pt>
                <c:pt idx="460">
                  <c:v>289.60000000000002</c:v>
                </c:pt>
                <c:pt idx="461">
                  <c:v>300.5</c:v>
                </c:pt>
                <c:pt idx="462">
                  <c:v>315.10000000000002</c:v>
                </c:pt>
                <c:pt idx="463">
                  <c:v>304.60000000000002</c:v>
                </c:pt>
                <c:pt idx="464">
                  <c:v>320.8</c:v>
                </c:pt>
                <c:pt idx="465">
                  <c:v>302.7</c:v>
                </c:pt>
                <c:pt idx="466">
                  <c:v>302.5</c:v>
                </c:pt>
                <c:pt idx="467">
                  <c:v>331.8</c:v>
                </c:pt>
                <c:pt idx="468">
                  <c:v>336.3</c:v>
                </c:pt>
                <c:pt idx="469">
                  <c:v>332.8</c:v>
                </c:pt>
                <c:pt idx="470">
                  <c:v>337.6</c:v>
                </c:pt>
                <c:pt idx="471">
                  <c:v>330.6</c:v>
                </c:pt>
                <c:pt idx="472">
                  <c:v>287.3</c:v>
                </c:pt>
                <c:pt idx="473">
                  <c:v>277.39999999999998</c:v>
                </c:pt>
                <c:pt idx="474">
                  <c:v>322.8</c:v>
                </c:pt>
                <c:pt idx="475">
                  <c:v>331.4</c:v>
                </c:pt>
                <c:pt idx="476">
                  <c:v>332.9</c:v>
                </c:pt>
                <c:pt idx="477">
                  <c:v>301.39999999999998</c:v>
                </c:pt>
                <c:pt idx="478">
                  <c:v>275.7</c:v>
                </c:pt>
                <c:pt idx="479">
                  <c:v>268.2</c:v>
                </c:pt>
                <c:pt idx="480">
                  <c:v>275.5</c:v>
                </c:pt>
                <c:pt idx="481">
                  <c:v>323.5</c:v>
                </c:pt>
                <c:pt idx="482">
                  <c:v>318.60000000000002</c:v>
                </c:pt>
                <c:pt idx="483">
                  <c:v>294</c:v>
                </c:pt>
                <c:pt idx="484">
                  <c:v>313.60000000000002</c:v>
                </c:pt>
                <c:pt idx="485">
                  <c:v>352.7</c:v>
                </c:pt>
                <c:pt idx="486">
                  <c:v>313.39999999999998</c:v>
                </c:pt>
                <c:pt idx="487">
                  <c:v>326.8</c:v>
                </c:pt>
                <c:pt idx="488">
                  <c:v>345</c:v>
                </c:pt>
                <c:pt idx="489">
                  <c:v>331.9</c:v>
                </c:pt>
                <c:pt idx="490">
                  <c:v>325.5</c:v>
                </c:pt>
                <c:pt idx="491">
                  <c:v>306.3</c:v>
                </c:pt>
                <c:pt idx="492">
                  <c:v>292.8</c:v>
                </c:pt>
                <c:pt idx="493">
                  <c:v>251</c:v>
                </c:pt>
                <c:pt idx="494">
                  <c:v>250</c:v>
                </c:pt>
                <c:pt idx="495">
                  <c:v>282.2</c:v>
                </c:pt>
                <c:pt idx="496">
                  <c:v>279.2</c:v>
                </c:pt>
                <c:pt idx="497">
                  <c:v>290.3</c:v>
                </c:pt>
                <c:pt idx="498">
                  <c:v>254.6</c:v>
                </c:pt>
                <c:pt idx="499">
                  <c:v>271.10000000000002</c:v>
                </c:pt>
                <c:pt idx="500">
                  <c:v>256.2</c:v>
                </c:pt>
                <c:pt idx="501">
                  <c:v>250.6</c:v>
                </c:pt>
                <c:pt idx="502">
                  <c:v>289</c:v>
                </c:pt>
                <c:pt idx="503">
                  <c:v>278.89999999999998</c:v>
                </c:pt>
                <c:pt idx="504">
                  <c:v>279.10000000000002</c:v>
                </c:pt>
                <c:pt idx="505">
                  <c:v>265.5</c:v>
                </c:pt>
                <c:pt idx="506">
                  <c:v>225.2</c:v>
                </c:pt>
                <c:pt idx="507">
                  <c:v>217.6</c:v>
                </c:pt>
                <c:pt idx="508">
                  <c:v>218.3</c:v>
                </c:pt>
                <c:pt idx="509">
                  <c:v>230.2</c:v>
                </c:pt>
                <c:pt idx="510">
                  <c:v>208.8</c:v>
                </c:pt>
                <c:pt idx="511">
                  <c:v>199.2</c:v>
                </c:pt>
                <c:pt idx="512">
                  <c:v>214.3</c:v>
                </c:pt>
                <c:pt idx="513">
                  <c:v>243.7</c:v>
                </c:pt>
                <c:pt idx="514">
                  <c:v>224.7</c:v>
                </c:pt>
                <c:pt idx="515">
                  <c:v>222.6</c:v>
                </c:pt>
                <c:pt idx="516">
                  <c:v>245.6</c:v>
                </c:pt>
                <c:pt idx="517">
                  <c:v>242.5</c:v>
                </c:pt>
                <c:pt idx="518">
                  <c:v>276.89999999999998</c:v>
                </c:pt>
                <c:pt idx="519">
                  <c:v>307.39999999999998</c:v>
                </c:pt>
                <c:pt idx="520">
                  <c:v>312.60000000000002</c:v>
                </c:pt>
                <c:pt idx="521">
                  <c:v>274.3</c:v>
                </c:pt>
                <c:pt idx="522">
                  <c:v>252.1</c:v>
                </c:pt>
                <c:pt idx="523">
                  <c:v>265.39999999999998</c:v>
                </c:pt>
                <c:pt idx="524">
                  <c:v>280.5</c:v>
                </c:pt>
                <c:pt idx="525">
                  <c:v>299</c:v>
                </c:pt>
                <c:pt idx="526">
                  <c:v>274.2</c:v>
                </c:pt>
                <c:pt idx="527">
                  <c:v>295.5</c:v>
                </c:pt>
                <c:pt idx="528">
                  <c:v>260.5</c:v>
                </c:pt>
                <c:pt idx="529">
                  <c:v>278</c:v>
                </c:pt>
                <c:pt idx="530">
                  <c:v>284.10000000000002</c:v>
                </c:pt>
                <c:pt idx="531">
                  <c:v>235.5</c:v>
                </c:pt>
                <c:pt idx="532">
                  <c:v>237.1</c:v>
                </c:pt>
                <c:pt idx="533">
                  <c:v>225</c:v>
                </c:pt>
                <c:pt idx="534">
                  <c:v>224.6</c:v>
                </c:pt>
                <c:pt idx="535">
                  <c:v>182.2</c:v>
                </c:pt>
                <c:pt idx="536">
                  <c:v>199.3</c:v>
                </c:pt>
                <c:pt idx="537">
                  <c:v>241.9</c:v>
                </c:pt>
                <c:pt idx="538">
                  <c:v>260.60000000000002</c:v>
                </c:pt>
                <c:pt idx="539">
                  <c:v>270.60000000000002</c:v>
                </c:pt>
                <c:pt idx="540">
                  <c:v>274.3</c:v>
                </c:pt>
                <c:pt idx="541">
                  <c:v>274.2</c:v>
                </c:pt>
                <c:pt idx="542">
                  <c:v>259.89999999999998</c:v>
                </c:pt>
                <c:pt idx="543">
                  <c:v>253.9</c:v>
                </c:pt>
                <c:pt idx="544">
                  <c:v>271.5</c:v>
                </c:pt>
                <c:pt idx="545">
                  <c:v>267.10000000000002</c:v>
                </c:pt>
                <c:pt idx="546">
                  <c:v>250.1</c:v>
                </c:pt>
                <c:pt idx="547">
                  <c:v>245.8</c:v>
                </c:pt>
                <c:pt idx="548">
                  <c:v>250.1</c:v>
                </c:pt>
                <c:pt idx="549">
                  <c:v>197.3</c:v>
                </c:pt>
                <c:pt idx="550">
                  <c:v>199.8</c:v>
                </c:pt>
                <c:pt idx="551">
                  <c:v>234.7</c:v>
                </c:pt>
                <c:pt idx="552">
                  <c:v>242.4</c:v>
                </c:pt>
                <c:pt idx="553">
                  <c:v>257.89999999999998</c:v>
                </c:pt>
                <c:pt idx="554">
                  <c:v>251.7</c:v>
                </c:pt>
                <c:pt idx="555">
                  <c:v>290.89999999999998</c:v>
                </c:pt>
                <c:pt idx="556">
                  <c:v>248.7</c:v>
                </c:pt>
                <c:pt idx="557">
                  <c:v>229.9</c:v>
                </c:pt>
                <c:pt idx="558">
                  <c:v>254.7</c:v>
                </c:pt>
                <c:pt idx="559">
                  <c:v>268.39999999999998</c:v>
                </c:pt>
                <c:pt idx="560">
                  <c:v>271.60000000000002</c:v>
                </c:pt>
                <c:pt idx="561">
                  <c:v>256.5</c:v>
                </c:pt>
                <c:pt idx="562">
                  <c:v>263.7</c:v>
                </c:pt>
                <c:pt idx="563">
                  <c:v>230.1</c:v>
                </c:pt>
                <c:pt idx="564">
                  <c:v>222.2</c:v>
                </c:pt>
                <c:pt idx="565">
                  <c:v>283</c:v>
                </c:pt>
                <c:pt idx="566">
                  <c:v>290.7</c:v>
                </c:pt>
                <c:pt idx="567">
                  <c:v>296.7</c:v>
                </c:pt>
                <c:pt idx="568">
                  <c:v>306.2</c:v>
                </c:pt>
                <c:pt idx="569">
                  <c:v>302.3</c:v>
                </c:pt>
                <c:pt idx="570">
                  <c:v>274.39999999999998</c:v>
                </c:pt>
                <c:pt idx="571">
                  <c:v>256.2</c:v>
                </c:pt>
                <c:pt idx="572">
                  <c:v>308.10000000000002</c:v>
                </c:pt>
                <c:pt idx="573">
                  <c:v>272.3</c:v>
                </c:pt>
                <c:pt idx="574">
                  <c:v>280.39999999999998</c:v>
                </c:pt>
                <c:pt idx="575">
                  <c:v>299.60000000000002</c:v>
                </c:pt>
                <c:pt idx="576">
                  <c:v>294.39999999999998</c:v>
                </c:pt>
                <c:pt idx="577">
                  <c:v>254</c:v>
                </c:pt>
                <c:pt idx="578">
                  <c:v>251</c:v>
                </c:pt>
                <c:pt idx="579">
                  <c:v>292</c:v>
                </c:pt>
                <c:pt idx="580">
                  <c:v>292.39999999999998</c:v>
                </c:pt>
                <c:pt idx="581">
                  <c:v>271.3</c:v>
                </c:pt>
                <c:pt idx="582">
                  <c:v>294.8</c:v>
                </c:pt>
                <c:pt idx="583">
                  <c:v>313.8</c:v>
                </c:pt>
                <c:pt idx="584">
                  <c:v>280.7</c:v>
                </c:pt>
                <c:pt idx="585">
                  <c:v>269.3</c:v>
                </c:pt>
                <c:pt idx="586">
                  <c:v>312.2</c:v>
                </c:pt>
                <c:pt idx="587">
                  <c:v>307.3</c:v>
                </c:pt>
                <c:pt idx="588">
                  <c:v>303.5</c:v>
                </c:pt>
                <c:pt idx="589">
                  <c:v>290.3</c:v>
                </c:pt>
                <c:pt idx="590">
                  <c:v>277.39999999999998</c:v>
                </c:pt>
                <c:pt idx="591">
                  <c:v>262.60000000000002</c:v>
                </c:pt>
                <c:pt idx="592">
                  <c:v>254.4</c:v>
                </c:pt>
                <c:pt idx="593">
                  <c:v>299.8</c:v>
                </c:pt>
                <c:pt idx="594">
                  <c:v>281.89999999999998</c:v>
                </c:pt>
                <c:pt idx="595">
                  <c:v>278.2</c:v>
                </c:pt>
                <c:pt idx="596">
                  <c:v>299.8</c:v>
                </c:pt>
                <c:pt idx="597">
                  <c:v>298.2</c:v>
                </c:pt>
                <c:pt idx="598">
                  <c:v>293.10000000000002</c:v>
                </c:pt>
                <c:pt idx="599">
                  <c:v>281</c:v>
                </c:pt>
                <c:pt idx="600">
                  <c:v>302.2</c:v>
                </c:pt>
                <c:pt idx="601">
                  <c:v>269.39999999999998</c:v>
                </c:pt>
                <c:pt idx="602">
                  <c:v>262.89999999999998</c:v>
                </c:pt>
                <c:pt idx="603">
                  <c:v>261.89999999999998</c:v>
                </c:pt>
                <c:pt idx="604">
                  <c:v>265.39999999999998</c:v>
                </c:pt>
                <c:pt idx="605">
                  <c:v>238.8</c:v>
                </c:pt>
                <c:pt idx="606">
                  <c:v>261.3</c:v>
                </c:pt>
                <c:pt idx="607">
                  <c:v>290.60000000000002</c:v>
                </c:pt>
                <c:pt idx="608">
                  <c:v>284.3</c:v>
                </c:pt>
                <c:pt idx="609">
                  <c:v>295.89999999999998</c:v>
                </c:pt>
                <c:pt idx="610">
                  <c:v>287.89999999999998</c:v>
                </c:pt>
                <c:pt idx="611">
                  <c:v>278.10000000000002</c:v>
                </c:pt>
                <c:pt idx="612">
                  <c:v>266.89999999999998</c:v>
                </c:pt>
                <c:pt idx="613">
                  <c:v>259.2</c:v>
                </c:pt>
                <c:pt idx="614">
                  <c:v>277.5</c:v>
                </c:pt>
                <c:pt idx="615">
                  <c:v>260.39999999999998</c:v>
                </c:pt>
                <c:pt idx="616">
                  <c:v>277.5</c:v>
                </c:pt>
                <c:pt idx="617">
                  <c:v>262.8</c:v>
                </c:pt>
                <c:pt idx="618">
                  <c:v>265.8</c:v>
                </c:pt>
                <c:pt idx="619">
                  <c:v>257.60000000000002</c:v>
                </c:pt>
                <c:pt idx="620">
                  <c:v>253.2</c:v>
                </c:pt>
                <c:pt idx="621">
                  <c:v>271.7</c:v>
                </c:pt>
                <c:pt idx="622">
                  <c:v>290.89999999999998</c:v>
                </c:pt>
                <c:pt idx="623">
                  <c:v>287.7</c:v>
                </c:pt>
                <c:pt idx="624">
                  <c:v>286.3</c:v>
                </c:pt>
                <c:pt idx="625">
                  <c:v>278</c:v>
                </c:pt>
                <c:pt idx="626">
                  <c:v>272.7</c:v>
                </c:pt>
                <c:pt idx="627">
                  <c:v>269.3</c:v>
                </c:pt>
                <c:pt idx="628">
                  <c:v>300.2</c:v>
                </c:pt>
                <c:pt idx="629">
                  <c:v>304.3</c:v>
                </c:pt>
                <c:pt idx="630">
                  <c:v>306.89999999999998</c:v>
                </c:pt>
                <c:pt idx="631">
                  <c:v>306.7</c:v>
                </c:pt>
                <c:pt idx="632">
                  <c:v>304.60000000000002</c:v>
                </c:pt>
                <c:pt idx="633">
                  <c:v>268.2</c:v>
                </c:pt>
                <c:pt idx="634">
                  <c:v>264.5</c:v>
                </c:pt>
                <c:pt idx="635">
                  <c:v>301.89999999999998</c:v>
                </c:pt>
                <c:pt idx="636">
                  <c:v>289.7</c:v>
                </c:pt>
                <c:pt idx="637">
                  <c:v>294.5</c:v>
                </c:pt>
                <c:pt idx="638">
                  <c:v>284</c:v>
                </c:pt>
                <c:pt idx="639">
                  <c:v>245.1</c:v>
                </c:pt>
                <c:pt idx="640">
                  <c:v>250.3</c:v>
                </c:pt>
                <c:pt idx="641">
                  <c:v>251.2</c:v>
                </c:pt>
                <c:pt idx="642">
                  <c:v>280</c:v>
                </c:pt>
                <c:pt idx="643">
                  <c:v>280.8</c:v>
                </c:pt>
                <c:pt idx="644">
                  <c:v>312.39999999999998</c:v>
                </c:pt>
                <c:pt idx="645">
                  <c:v>304.7</c:v>
                </c:pt>
                <c:pt idx="646">
                  <c:v>297.89999999999998</c:v>
                </c:pt>
                <c:pt idx="647">
                  <c:v>290.8</c:v>
                </c:pt>
                <c:pt idx="648">
                  <c:v>283.39999999999998</c:v>
                </c:pt>
                <c:pt idx="649">
                  <c:v>296.60000000000002</c:v>
                </c:pt>
                <c:pt idx="650">
                  <c:v>306.8</c:v>
                </c:pt>
                <c:pt idx="651">
                  <c:v>311.8</c:v>
                </c:pt>
                <c:pt idx="652">
                  <c:v>310.89999999999998</c:v>
                </c:pt>
                <c:pt idx="653">
                  <c:v>305.7</c:v>
                </c:pt>
                <c:pt idx="654">
                  <c:v>270.60000000000002</c:v>
                </c:pt>
                <c:pt idx="655">
                  <c:v>275.2</c:v>
                </c:pt>
                <c:pt idx="656">
                  <c:v>314.8</c:v>
                </c:pt>
                <c:pt idx="657">
                  <c:v>280.8</c:v>
                </c:pt>
                <c:pt idx="658">
                  <c:v>300.3</c:v>
                </c:pt>
                <c:pt idx="659">
                  <c:v>294</c:v>
                </c:pt>
                <c:pt idx="660">
                  <c:v>306.10000000000002</c:v>
                </c:pt>
                <c:pt idx="661">
                  <c:v>274.10000000000002</c:v>
                </c:pt>
                <c:pt idx="662">
                  <c:v>252.7</c:v>
                </c:pt>
                <c:pt idx="663">
                  <c:v>295.3</c:v>
                </c:pt>
                <c:pt idx="664">
                  <c:v>288.8</c:v>
                </c:pt>
                <c:pt idx="665">
                  <c:v>228</c:v>
                </c:pt>
                <c:pt idx="666">
                  <c:v>246.1</c:v>
                </c:pt>
                <c:pt idx="667">
                  <c:v>248.3</c:v>
                </c:pt>
                <c:pt idx="668">
                  <c:v>230.9</c:v>
                </c:pt>
                <c:pt idx="669">
                  <c:v>236.6</c:v>
                </c:pt>
                <c:pt idx="670">
                  <c:v>190.8</c:v>
                </c:pt>
                <c:pt idx="671">
                  <c:v>209.6</c:v>
                </c:pt>
                <c:pt idx="672">
                  <c:v>204</c:v>
                </c:pt>
                <c:pt idx="673">
                  <c:v>211.4</c:v>
                </c:pt>
                <c:pt idx="674">
                  <c:v>191.2</c:v>
                </c:pt>
                <c:pt idx="675">
                  <c:v>176.2</c:v>
                </c:pt>
                <c:pt idx="676">
                  <c:v>198.4</c:v>
                </c:pt>
                <c:pt idx="677">
                  <c:v>230.9</c:v>
                </c:pt>
                <c:pt idx="678">
                  <c:v>205.1</c:v>
                </c:pt>
                <c:pt idx="679">
                  <c:v>197</c:v>
                </c:pt>
                <c:pt idx="680">
                  <c:v>186.7</c:v>
                </c:pt>
                <c:pt idx="681">
                  <c:v>180.3</c:v>
                </c:pt>
                <c:pt idx="682">
                  <c:v>172.5</c:v>
                </c:pt>
                <c:pt idx="683">
                  <c:v>174</c:v>
                </c:pt>
                <c:pt idx="684">
                  <c:v>194.5</c:v>
                </c:pt>
                <c:pt idx="685">
                  <c:v>211</c:v>
                </c:pt>
                <c:pt idx="686">
                  <c:v>189.8</c:v>
                </c:pt>
                <c:pt idx="687">
                  <c:v>200</c:v>
                </c:pt>
                <c:pt idx="688">
                  <c:v>197.2</c:v>
                </c:pt>
                <c:pt idx="689">
                  <c:v>181.2</c:v>
                </c:pt>
                <c:pt idx="690">
                  <c:v>166.7</c:v>
                </c:pt>
                <c:pt idx="691">
                  <c:v>190.4</c:v>
                </c:pt>
                <c:pt idx="692">
                  <c:v>208.3</c:v>
                </c:pt>
                <c:pt idx="693">
                  <c:v>208.3</c:v>
                </c:pt>
                <c:pt idx="694">
                  <c:v>208.7</c:v>
                </c:pt>
                <c:pt idx="695">
                  <c:v>212.8</c:v>
                </c:pt>
                <c:pt idx="696">
                  <c:v>174.1</c:v>
                </c:pt>
                <c:pt idx="697">
                  <c:v>178.5</c:v>
                </c:pt>
                <c:pt idx="698">
                  <c:v>186.1</c:v>
                </c:pt>
                <c:pt idx="699">
                  <c:v>202</c:v>
                </c:pt>
                <c:pt idx="700">
                  <c:v>207.6</c:v>
                </c:pt>
                <c:pt idx="701">
                  <c:v>231.5</c:v>
                </c:pt>
                <c:pt idx="702">
                  <c:v>244.8</c:v>
                </c:pt>
                <c:pt idx="703">
                  <c:v>222.4</c:v>
                </c:pt>
                <c:pt idx="704">
                  <c:v>205.4</c:v>
                </c:pt>
                <c:pt idx="705">
                  <c:v>239.4</c:v>
                </c:pt>
                <c:pt idx="706">
                  <c:v>238.4</c:v>
                </c:pt>
                <c:pt idx="707">
                  <c:v>252.7</c:v>
                </c:pt>
                <c:pt idx="708">
                  <c:v>264.10000000000002</c:v>
                </c:pt>
                <c:pt idx="709">
                  <c:v>264.39999999999998</c:v>
                </c:pt>
                <c:pt idx="710">
                  <c:v>226.7</c:v>
                </c:pt>
                <c:pt idx="711">
                  <c:v>214.5</c:v>
                </c:pt>
                <c:pt idx="712">
                  <c:v>240.2</c:v>
                </c:pt>
                <c:pt idx="713">
                  <c:v>246.2</c:v>
                </c:pt>
                <c:pt idx="714">
                  <c:v>248.3</c:v>
                </c:pt>
                <c:pt idx="715">
                  <c:v>248.7</c:v>
                </c:pt>
                <c:pt idx="716">
                  <c:v>231.2</c:v>
                </c:pt>
                <c:pt idx="717">
                  <c:v>186.5</c:v>
                </c:pt>
                <c:pt idx="718">
                  <c:v>182.5</c:v>
                </c:pt>
                <c:pt idx="719">
                  <c:v>211.4</c:v>
                </c:pt>
                <c:pt idx="720">
                  <c:v>199.7</c:v>
                </c:pt>
                <c:pt idx="721">
                  <c:v>201.5</c:v>
                </c:pt>
                <c:pt idx="722">
                  <c:v>201.3</c:v>
                </c:pt>
                <c:pt idx="723">
                  <c:v>197.7</c:v>
                </c:pt>
                <c:pt idx="724">
                  <c:v>165.8</c:v>
                </c:pt>
                <c:pt idx="725">
                  <c:v>156.69999999999999</c:v>
                </c:pt>
                <c:pt idx="726">
                  <c:v>217.9</c:v>
                </c:pt>
                <c:pt idx="727">
                  <c:v>207.2</c:v>
                </c:pt>
                <c:pt idx="728">
                  <c:v>204.3</c:v>
                </c:pt>
                <c:pt idx="729">
                  <c:v>208.9</c:v>
                </c:pt>
                <c:pt idx="730">
                  <c:v>202</c:v>
                </c:pt>
                <c:pt idx="731">
                  <c:v>195</c:v>
                </c:pt>
                <c:pt idx="732">
                  <c:v>184.5</c:v>
                </c:pt>
                <c:pt idx="733">
                  <c:v>186.5</c:v>
                </c:pt>
                <c:pt idx="734">
                  <c:v>178.3</c:v>
                </c:pt>
                <c:pt idx="735">
                  <c:v>193.1</c:v>
                </c:pt>
                <c:pt idx="736">
                  <c:v>172.9</c:v>
                </c:pt>
                <c:pt idx="737">
                  <c:v>179.6</c:v>
                </c:pt>
                <c:pt idx="738">
                  <c:v>191.8</c:v>
                </c:pt>
                <c:pt idx="739">
                  <c:v>167.3</c:v>
                </c:pt>
                <c:pt idx="740">
                  <c:v>183</c:v>
                </c:pt>
                <c:pt idx="741">
                  <c:v>185.6</c:v>
                </c:pt>
                <c:pt idx="742">
                  <c:v>191</c:v>
                </c:pt>
                <c:pt idx="743">
                  <c:v>190.3</c:v>
                </c:pt>
                <c:pt idx="744">
                  <c:v>189.9</c:v>
                </c:pt>
                <c:pt idx="745">
                  <c:v>161</c:v>
                </c:pt>
                <c:pt idx="746">
                  <c:v>152.30000000000001</c:v>
                </c:pt>
                <c:pt idx="747">
                  <c:v>211.6</c:v>
                </c:pt>
                <c:pt idx="748">
                  <c:v>198.3</c:v>
                </c:pt>
                <c:pt idx="749">
                  <c:v>186.5</c:v>
                </c:pt>
                <c:pt idx="750">
                  <c:v>177.3</c:v>
                </c:pt>
                <c:pt idx="751">
                  <c:v>182.4</c:v>
                </c:pt>
                <c:pt idx="752">
                  <c:v>168.7</c:v>
                </c:pt>
                <c:pt idx="753">
                  <c:v>146</c:v>
                </c:pt>
                <c:pt idx="754">
                  <c:v>198.1</c:v>
                </c:pt>
                <c:pt idx="755">
                  <c:v>204</c:v>
                </c:pt>
                <c:pt idx="756">
                  <c:v>180.5</c:v>
                </c:pt>
                <c:pt idx="757">
                  <c:v>187</c:v>
                </c:pt>
                <c:pt idx="758">
                  <c:v>171</c:v>
                </c:pt>
                <c:pt idx="759">
                  <c:v>146.30000000000001</c:v>
                </c:pt>
                <c:pt idx="760">
                  <c:v>148.5</c:v>
                </c:pt>
                <c:pt idx="761">
                  <c:v>174.4</c:v>
                </c:pt>
                <c:pt idx="762">
                  <c:v>175.3</c:v>
                </c:pt>
                <c:pt idx="763">
                  <c:v>181</c:v>
                </c:pt>
                <c:pt idx="764">
                  <c:v>194.5</c:v>
                </c:pt>
                <c:pt idx="765">
                  <c:v>161.19999999999999</c:v>
                </c:pt>
                <c:pt idx="766">
                  <c:v>137.9</c:v>
                </c:pt>
                <c:pt idx="767">
                  <c:v>127.7</c:v>
                </c:pt>
                <c:pt idx="768">
                  <c:v>177.2</c:v>
                </c:pt>
                <c:pt idx="769">
                  <c:v>189.8</c:v>
                </c:pt>
                <c:pt idx="770">
                  <c:v>206</c:v>
                </c:pt>
                <c:pt idx="771">
                  <c:v>215.7</c:v>
                </c:pt>
                <c:pt idx="772">
                  <c:v>229</c:v>
                </c:pt>
                <c:pt idx="773">
                  <c:v>177.2</c:v>
                </c:pt>
                <c:pt idx="774">
                  <c:v>146.19999999999999</c:v>
                </c:pt>
                <c:pt idx="775">
                  <c:v>184.8</c:v>
                </c:pt>
                <c:pt idx="776">
                  <c:v>179.3</c:v>
                </c:pt>
                <c:pt idx="777">
                  <c:v>188.4</c:v>
                </c:pt>
                <c:pt idx="778">
                  <c:v>192.7</c:v>
                </c:pt>
                <c:pt idx="779">
                  <c:v>185.3</c:v>
                </c:pt>
                <c:pt idx="780">
                  <c:v>139.19999999999999</c:v>
                </c:pt>
                <c:pt idx="781">
                  <c:v>144.1</c:v>
                </c:pt>
                <c:pt idx="782">
                  <c:v>178.3</c:v>
                </c:pt>
                <c:pt idx="783">
                  <c:v>202.3</c:v>
                </c:pt>
                <c:pt idx="784">
                  <c:v>206</c:v>
                </c:pt>
                <c:pt idx="785">
                  <c:v>202.2</c:v>
                </c:pt>
                <c:pt idx="786">
                  <c:v>185.1</c:v>
                </c:pt>
                <c:pt idx="787">
                  <c:v>151.6</c:v>
                </c:pt>
                <c:pt idx="788">
                  <c:v>154.4</c:v>
                </c:pt>
                <c:pt idx="789">
                  <c:v>189.7</c:v>
                </c:pt>
                <c:pt idx="790">
                  <c:v>231.3</c:v>
                </c:pt>
                <c:pt idx="791">
                  <c:v>210.1</c:v>
                </c:pt>
                <c:pt idx="792">
                  <c:v>162.30000000000001</c:v>
                </c:pt>
                <c:pt idx="793">
                  <c:v>149.6</c:v>
                </c:pt>
                <c:pt idx="794">
                  <c:v>137.80000000000001</c:v>
                </c:pt>
                <c:pt idx="795">
                  <c:v>141.1</c:v>
                </c:pt>
                <c:pt idx="796">
                  <c:v>171.2</c:v>
                </c:pt>
                <c:pt idx="797">
                  <c:v>190.5</c:v>
                </c:pt>
                <c:pt idx="798">
                  <c:v>176.5</c:v>
                </c:pt>
                <c:pt idx="799">
                  <c:v>186.3</c:v>
                </c:pt>
                <c:pt idx="800">
                  <c:v>175.7</c:v>
                </c:pt>
                <c:pt idx="801">
                  <c:v>151.5</c:v>
                </c:pt>
                <c:pt idx="802">
                  <c:v>150.6</c:v>
                </c:pt>
                <c:pt idx="803">
                  <c:v>186.7</c:v>
                </c:pt>
                <c:pt idx="804">
                  <c:v>217</c:v>
                </c:pt>
                <c:pt idx="805">
                  <c:v>204.4</c:v>
                </c:pt>
                <c:pt idx="806">
                  <c:v>218.7</c:v>
                </c:pt>
                <c:pt idx="807">
                  <c:v>201.6</c:v>
                </c:pt>
                <c:pt idx="808">
                  <c:v>175.5</c:v>
                </c:pt>
                <c:pt idx="809">
                  <c:v>163.9</c:v>
                </c:pt>
                <c:pt idx="810">
                  <c:v>181.8</c:v>
                </c:pt>
                <c:pt idx="811">
                  <c:v>159.9</c:v>
                </c:pt>
                <c:pt idx="812">
                  <c:v>141.9</c:v>
                </c:pt>
                <c:pt idx="813">
                  <c:v>151.1</c:v>
                </c:pt>
                <c:pt idx="814">
                  <c:v>156.30000000000001</c:v>
                </c:pt>
                <c:pt idx="815">
                  <c:v>146.5</c:v>
                </c:pt>
                <c:pt idx="816">
                  <c:v>151</c:v>
                </c:pt>
                <c:pt idx="817">
                  <c:v>165.3</c:v>
                </c:pt>
                <c:pt idx="818">
                  <c:v>189.3</c:v>
                </c:pt>
                <c:pt idx="819">
                  <c:v>196.1</c:v>
                </c:pt>
                <c:pt idx="820">
                  <c:v>201.1</c:v>
                </c:pt>
                <c:pt idx="821">
                  <c:v>194.4</c:v>
                </c:pt>
                <c:pt idx="822">
                  <c:v>177.7</c:v>
                </c:pt>
                <c:pt idx="823">
                  <c:v>146.4</c:v>
                </c:pt>
                <c:pt idx="824">
                  <c:v>151.19999999999999</c:v>
                </c:pt>
                <c:pt idx="825">
                  <c:v>175.8</c:v>
                </c:pt>
                <c:pt idx="826">
                  <c:v>176.5</c:v>
                </c:pt>
                <c:pt idx="827">
                  <c:v>175.3</c:v>
                </c:pt>
                <c:pt idx="828">
                  <c:v>172.9</c:v>
                </c:pt>
                <c:pt idx="829">
                  <c:v>164.9</c:v>
                </c:pt>
                <c:pt idx="830">
                  <c:v>146.1</c:v>
                </c:pt>
                <c:pt idx="831">
                  <c:v>179.2</c:v>
                </c:pt>
                <c:pt idx="832">
                  <c:v>186.1</c:v>
                </c:pt>
                <c:pt idx="833">
                  <c:v>180.7</c:v>
                </c:pt>
                <c:pt idx="834">
                  <c:v>178.3</c:v>
                </c:pt>
                <c:pt idx="835">
                  <c:v>197.5</c:v>
                </c:pt>
                <c:pt idx="836">
                  <c:v>152.19999999999999</c:v>
                </c:pt>
                <c:pt idx="837">
                  <c:v>145.80000000000001</c:v>
                </c:pt>
                <c:pt idx="838">
                  <c:v>201.6</c:v>
                </c:pt>
                <c:pt idx="839">
                  <c:v>207.8</c:v>
                </c:pt>
                <c:pt idx="840">
                  <c:v>206.6</c:v>
                </c:pt>
                <c:pt idx="841">
                  <c:v>217.9</c:v>
                </c:pt>
                <c:pt idx="842">
                  <c:v>208.4</c:v>
                </c:pt>
                <c:pt idx="843">
                  <c:v>177</c:v>
                </c:pt>
                <c:pt idx="844">
                  <c:v>172.7</c:v>
                </c:pt>
                <c:pt idx="845">
                  <c:v>219.7</c:v>
                </c:pt>
                <c:pt idx="846">
                  <c:v>211.3</c:v>
                </c:pt>
                <c:pt idx="847">
                  <c:v>204</c:v>
                </c:pt>
                <c:pt idx="848">
                  <c:v>201.6</c:v>
                </c:pt>
                <c:pt idx="849">
                  <c:v>193.7</c:v>
                </c:pt>
                <c:pt idx="850">
                  <c:v>182</c:v>
                </c:pt>
                <c:pt idx="851">
                  <c:v>160</c:v>
                </c:pt>
                <c:pt idx="852">
                  <c:v>172.1</c:v>
                </c:pt>
                <c:pt idx="853">
                  <c:v>149.1</c:v>
                </c:pt>
                <c:pt idx="854">
                  <c:v>145</c:v>
                </c:pt>
                <c:pt idx="855">
                  <c:v>142.19999999999999</c:v>
                </c:pt>
                <c:pt idx="856">
                  <c:v>149</c:v>
                </c:pt>
                <c:pt idx="857">
                  <c:v>138.30000000000001</c:v>
                </c:pt>
                <c:pt idx="858">
                  <c:v>135.80000000000001</c:v>
                </c:pt>
                <c:pt idx="859">
                  <c:v>144.30000000000001</c:v>
                </c:pt>
                <c:pt idx="860">
                  <c:v>161.1</c:v>
                </c:pt>
                <c:pt idx="861">
                  <c:v>168.4</c:v>
                </c:pt>
                <c:pt idx="862">
                  <c:v>179.7</c:v>
                </c:pt>
                <c:pt idx="863">
                  <c:v>169</c:v>
                </c:pt>
                <c:pt idx="864">
                  <c:v>128.69999999999999</c:v>
                </c:pt>
                <c:pt idx="865">
                  <c:v>133.19999999999999</c:v>
                </c:pt>
                <c:pt idx="866">
                  <c:v>169.7</c:v>
                </c:pt>
                <c:pt idx="867">
                  <c:v>162.5</c:v>
                </c:pt>
                <c:pt idx="868">
                  <c:v>173.1</c:v>
                </c:pt>
                <c:pt idx="869">
                  <c:v>175.8</c:v>
                </c:pt>
                <c:pt idx="870">
                  <c:v>169.8</c:v>
                </c:pt>
                <c:pt idx="871">
                  <c:v>139.69999999999999</c:v>
                </c:pt>
                <c:pt idx="872">
                  <c:v>135.6</c:v>
                </c:pt>
                <c:pt idx="873">
                  <c:v>147.69999999999999</c:v>
                </c:pt>
                <c:pt idx="874">
                  <c:v>140.9</c:v>
                </c:pt>
                <c:pt idx="875">
                  <c:v>144.4</c:v>
                </c:pt>
                <c:pt idx="876">
                  <c:v>120.1</c:v>
                </c:pt>
                <c:pt idx="877">
                  <c:v>107</c:v>
                </c:pt>
                <c:pt idx="878">
                  <c:v>113.4</c:v>
                </c:pt>
                <c:pt idx="879">
                  <c:v>123.7</c:v>
                </c:pt>
                <c:pt idx="880">
                  <c:v>124.5</c:v>
                </c:pt>
                <c:pt idx="881">
                  <c:v>139.80000000000001</c:v>
                </c:pt>
                <c:pt idx="882">
                  <c:v>144.1</c:v>
                </c:pt>
                <c:pt idx="883">
                  <c:v>140.1</c:v>
                </c:pt>
                <c:pt idx="884">
                  <c:v>127.2</c:v>
                </c:pt>
                <c:pt idx="885">
                  <c:v>143.19999999999999</c:v>
                </c:pt>
                <c:pt idx="886">
                  <c:v>145.69999999999999</c:v>
                </c:pt>
                <c:pt idx="887">
                  <c:v>161.80000000000001</c:v>
                </c:pt>
                <c:pt idx="888">
                  <c:v>161.4</c:v>
                </c:pt>
                <c:pt idx="889">
                  <c:v>155.69999999999999</c:v>
                </c:pt>
                <c:pt idx="890">
                  <c:v>166.8</c:v>
                </c:pt>
                <c:pt idx="891">
                  <c:v>158.9</c:v>
                </c:pt>
                <c:pt idx="892">
                  <c:v>121.4</c:v>
                </c:pt>
                <c:pt idx="893">
                  <c:v>104.8</c:v>
                </c:pt>
                <c:pt idx="894">
                  <c:v>138.80000000000001</c:v>
                </c:pt>
                <c:pt idx="895">
                  <c:v>156.80000000000001</c:v>
                </c:pt>
                <c:pt idx="896">
                  <c:v>161</c:v>
                </c:pt>
                <c:pt idx="897">
                  <c:v>147.6</c:v>
                </c:pt>
                <c:pt idx="898">
                  <c:v>151.80000000000001</c:v>
                </c:pt>
                <c:pt idx="899">
                  <c:v>120.9</c:v>
                </c:pt>
                <c:pt idx="900">
                  <c:v>113.1</c:v>
                </c:pt>
                <c:pt idx="901">
                  <c:v>146.4</c:v>
                </c:pt>
                <c:pt idx="902">
                  <c:v>135.4</c:v>
                </c:pt>
                <c:pt idx="903">
                  <c:v>122.6</c:v>
                </c:pt>
                <c:pt idx="904">
                  <c:v>119</c:v>
                </c:pt>
                <c:pt idx="905">
                  <c:v>99.3</c:v>
                </c:pt>
                <c:pt idx="906">
                  <c:v>78.099999999999994</c:v>
                </c:pt>
                <c:pt idx="907">
                  <c:v>79</c:v>
                </c:pt>
                <c:pt idx="908">
                  <c:v>100.7</c:v>
                </c:pt>
                <c:pt idx="909">
                  <c:v>111</c:v>
                </c:pt>
                <c:pt idx="910">
                  <c:v>122.3</c:v>
                </c:pt>
                <c:pt idx="911">
                  <c:v>107.8</c:v>
                </c:pt>
                <c:pt idx="912">
                  <c:v>97.1</c:v>
                </c:pt>
                <c:pt idx="913">
                  <c:v>84.3</c:v>
                </c:pt>
                <c:pt idx="914">
                  <c:v>88.7</c:v>
                </c:pt>
                <c:pt idx="915">
                  <c:v>118.3</c:v>
                </c:pt>
                <c:pt idx="916">
                  <c:v>119.5</c:v>
                </c:pt>
                <c:pt idx="917">
                  <c:v>114.7</c:v>
                </c:pt>
                <c:pt idx="918">
                  <c:v>118.5</c:v>
                </c:pt>
                <c:pt idx="919">
                  <c:v>127</c:v>
                </c:pt>
                <c:pt idx="920">
                  <c:v>118.8</c:v>
                </c:pt>
                <c:pt idx="921">
                  <c:v>111.6</c:v>
                </c:pt>
                <c:pt idx="922">
                  <c:v>139.4</c:v>
                </c:pt>
                <c:pt idx="923">
                  <c:v>153.1</c:v>
                </c:pt>
                <c:pt idx="924">
                  <c:v>171.1</c:v>
                </c:pt>
                <c:pt idx="925">
                  <c:v>191.1</c:v>
                </c:pt>
                <c:pt idx="926">
                  <c:v>204.3</c:v>
                </c:pt>
                <c:pt idx="927">
                  <c:v>163.5</c:v>
                </c:pt>
                <c:pt idx="928">
                  <c:v>161.4</c:v>
                </c:pt>
                <c:pt idx="929">
                  <c:v>166.8</c:v>
                </c:pt>
                <c:pt idx="930">
                  <c:v>187.6</c:v>
                </c:pt>
                <c:pt idx="931">
                  <c:v>190.9</c:v>
                </c:pt>
                <c:pt idx="932">
                  <c:v>203.7</c:v>
                </c:pt>
                <c:pt idx="933">
                  <c:v>187.1</c:v>
                </c:pt>
                <c:pt idx="934">
                  <c:v>154</c:v>
                </c:pt>
                <c:pt idx="935">
                  <c:v>158.69999999999999</c:v>
                </c:pt>
                <c:pt idx="936">
                  <c:v>210.4</c:v>
                </c:pt>
                <c:pt idx="937">
                  <c:v>195.1</c:v>
                </c:pt>
                <c:pt idx="938">
                  <c:v>171.6</c:v>
                </c:pt>
                <c:pt idx="939">
                  <c:v>181.8</c:v>
                </c:pt>
                <c:pt idx="940">
                  <c:v>176.4</c:v>
                </c:pt>
                <c:pt idx="941">
                  <c:v>179.8</c:v>
                </c:pt>
                <c:pt idx="942">
                  <c:v>174</c:v>
                </c:pt>
                <c:pt idx="943">
                  <c:v>230.9</c:v>
                </c:pt>
                <c:pt idx="944">
                  <c:v>249.4</c:v>
                </c:pt>
                <c:pt idx="945">
                  <c:v>229.6</c:v>
                </c:pt>
                <c:pt idx="946">
                  <c:v>233.5</c:v>
                </c:pt>
                <c:pt idx="947">
                  <c:v>239</c:v>
                </c:pt>
                <c:pt idx="948">
                  <c:v>236.4</c:v>
                </c:pt>
                <c:pt idx="949">
                  <c:v>239.1</c:v>
                </c:pt>
                <c:pt idx="950">
                  <c:v>283.60000000000002</c:v>
                </c:pt>
                <c:pt idx="951">
                  <c:v>286.8</c:v>
                </c:pt>
                <c:pt idx="952">
                  <c:v>293.5</c:v>
                </c:pt>
                <c:pt idx="953">
                  <c:v>285</c:v>
                </c:pt>
                <c:pt idx="954">
                  <c:v>271.8</c:v>
                </c:pt>
                <c:pt idx="955">
                  <c:v>197.7</c:v>
                </c:pt>
                <c:pt idx="956">
                  <c:v>201.7</c:v>
                </c:pt>
                <c:pt idx="957">
                  <c:v>251.5</c:v>
                </c:pt>
                <c:pt idx="958">
                  <c:v>263.2</c:v>
                </c:pt>
                <c:pt idx="959">
                  <c:v>281.5</c:v>
                </c:pt>
                <c:pt idx="960">
                  <c:v>295.5</c:v>
                </c:pt>
                <c:pt idx="961">
                  <c:v>300.3</c:v>
                </c:pt>
                <c:pt idx="962">
                  <c:v>287.7</c:v>
                </c:pt>
                <c:pt idx="963">
                  <c:v>292.89999999999998</c:v>
                </c:pt>
                <c:pt idx="964">
                  <c:v>302.7</c:v>
                </c:pt>
                <c:pt idx="965">
                  <c:v>310.5</c:v>
                </c:pt>
                <c:pt idx="966">
                  <c:v>300.3</c:v>
                </c:pt>
                <c:pt idx="967">
                  <c:v>291.5</c:v>
                </c:pt>
                <c:pt idx="968">
                  <c:v>293</c:v>
                </c:pt>
                <c:pt idx="969">
                  <c:v>229.5</c:v>
                </c:pt>
                <c:pt idx="970">
                  <c:v>225.9</c:v>
                </c:pt>
                <c:pt idx="971">
                  <c:v>264.39999999999998</c:v>
                </c:pt>
                <c:pt idx="972">
                  <c:v>256.3</c:v>
                </c:pt>
                <c:pt idx="973">
                  <c:v>256.60000000000002</c:v>
                </c:pt>
                <c:pt idx="974">
                  <c:v>287.60000000000002</c:v>
                </c:pt>
                <c:pt idx="975">
                  <c:v>286.60000000000002</c:v>
                </c:pt>
                <c:pt idx="976">
                  <c:v>274.5</c:v>
                </c:pt>
                <c:pt idx="977">
                  <c:v>283.89999999999998</c:v>
                </c:pt>
                <c:pt idx="978">
                  <c:v>297.10000000000002</c:v>
                </c:pt>
                <c:pt idx="979">
                  <c:v>301.3</c:v>
                </c:pt>
                <c:pt idx="980">
                  <c:v>320.2</c:v>
                </c:pt>
                <c:pt idx="981">
                  <c:v>316.3</c:v>
                </c:pt>
                <c:pt idx="982">
                  <c:v>313</c:v>
                </c:pt>
                <c:pt idx="983">
                  <c:v>285</c:v>
                </c:pt>
                <c:pt idx="984">
                  <c:v>257</c:v>
                </c:pt>
                <c:pt idx="985">
                  <c:v>271.89999999999998</c:v>
                </c:pt>
                <c:pt idx="986">
                  <c:v>298.60000000000002</c:v>
                </c:pt>
                <c:pt idx="987">
                  <c:v>308.10000000000002</c:v>
                </c:pt>
                <c:pt idx="988">
                  <c:v>284.10000000000002</c:v>
                </c:pt>
                <c:pt idx="989">
                  <c:v>292.10000000000002</c:v>
                </c:pt>
                <c:pt idx="990">
                  <c:v>259.5</c:v>
                </c:pt>
                <c:pt idx="991">
                  <c:v>263.8</c:v>
                </c:pt>
                <c:pt idx="992">
                  <c:v>308.8</c:v>
                </c:pt>
                <c:pt idx="993">
                  <c:v>314.7</c:v>
                </c:pt>
                <c:pt idx="994">
                  <c:v>282</c:v>
                </c:pt>
                <c:pt idx="995">
                  <c:v>312.89999999999998</c:v>
                </c:pt>
                <c:pt idx="996">
                  <c:v>275</c:v>
                </c:pt>
                <c:pt idx="997">
                  <c:v>270.7</c:v>
                </c:pt>
                <c:pt idx="998">
                  <c:v>262.60000000000002</c:v>
                </c:pt>
                <c:pt idx="999">
                  <c:v>289.5</c:v>
                </c:pt>
                <c:pt idx="1000">
                  <c:v>264.5</c:v>
                </c:pt>
                <c:pt idx="1001">
                  <c:v>258.5</c:v>
                </c:pt>
                <c:pt idx="1002">
                  <c:v>278.10000000000002</c:v>
                </c:pt>
                <c:pt idx="1003">
                  <c:v>267.7</c:v>
                </c:pt>
                <c:pt idx="1004">
                  <c:v>227.2</c:v>
                </c:pt>
                <c:pt idx="1005">
                  <c:v>227.6</c:v>
                </c:pt>
                <c:pt idx="1006">
                  <c:v>237.7</c:v>
                </c:pt>
                <c:pt idx="1007">
                  <c:v>245.3</c:v>
                </c:pt>
                <c:pt idx="1008">
                  <c:v>232.9</c:v>
                </c:pt>
                <c:pt idx="1009">
                  <c:v>239.1</c:v>
                </c:pt>
                <c:pt idx="1010">
                  <c:v>247.5</c:v>
                </c:pt>
                <c:pt idx="1011">
                  <c:v>239.8</c:v>
                </c:pt>
                <c:pt idx="1012">
                  <c:v>226.7</c:v>
                </c:pt>
                <c:pt idx="1013">
                  <c:v>241.8</c:v>
                </c:pt>
                <c:pt idx="1014">
                  <c:v>239.5</c:v>
                </c:pt>
                <c:pt idx="1015">
                  <c:v>232.4</c:v>
                </c:pt>
                <c:pt idx="1016">
                  <c:v>236.9</c:v>
                </c:pt>
                <c:pt idx="1017">
                  <c:v>265.3</c:v>
                </c:pt>
                <c:pt idx="1018">
                  <c:v>259.8</c:v>
                </c:pt>
                <c:pt idx="1019">
                  <c:v>250</c:v>
                </c:pt>
                <c:pt idx="1020">
                  <c:v>272.89999999999998</c:v>
                </c:pt>
                <c:pt idx="1021">
                  <c:v>232.6</c:v>
                </c:pt>
                <c:pt idx="1022">
                  <c:v>295.89999999999998</c:v>
                </c:pt>
                <c:pt idx="1023">
                  <c:v>281.5</c:v>
                </c:pt>
                <c:pt idx="1024">
                  <c:v>274.7</c:v>
                </c:pt>
                <c:pt idx="1025">
                  <c:v>257</c:v>
                </c:pt>
                <c:pt idx="1026">
                  <c:v>243.1</c:v>
                </c:pt>
                <c:pt idx="1027">
                  <c:v>237.1</c:v>
                </c:pt>
                <c:pt idx="1028">
                  <c:v>239.9</c:v>
                </c:pt>
                <c:pt idx="1029">
                  <c:v>240.6</c:v>
                </c:pt>
                <c:pt idx="1030">
                  <c:v>237.8</c:v>
                </c:pt>
                <c:pt idx="1031">
                  <c:v>229.2</c:v>
                </c:pt>
                <c:pt idx="1032">
                  <c:v>205</c:v>
                </c:pt>
                <c:pt idx="1033">
                  <c:v>201</c:v>
                </c:pt>
                <c:pt idx="1034">
                  <c:v>223.7</c:v>
                </c:pt>
                <c:pt idx="1035">
                  <c:v>254.6</c:v>
                </c:pt>
                <c:pt idx="1036">
                  <c:v>252</c:v>
                </c:pt>
                <c:pt idx="1037">
                  <c:v>266</c:v>
                </c:pt>
                <c:pt idx="1038">
                  <c:v>261.3</c:v>
                </c:pt>
                <c:pt idx="1039">
                  <c:v>217.8</c:v>
                </c:pt>
                <c:pt idx="1040">
                  <c:v>224.3</c:v>
                </c:pt>
                <c:pt idx="1041">
                  <c:v>245</c:v>
                </c:pt>
                <c:pt idx="1042">
                  <c:v>239.1</c:v>
                </c:pt>
                <c:pt idx="1043">
                  <c:v>244.8</c:v>
                </c:pt>
                <c:pt idx="1044">
                  <c:v>242.8</c:v>
                </c:pt>
                <c:pt idx="1045">
                  <c:v>234.5</c:v>
                </c:pt>
                <c:pt idx="1046">
                  <c:v>200.8</c:v>
                </c:pt>
                <c:pt idx="1047">
                  <c:v>193.2</c:v>
                </c:pt>
                <c:pt idx="1048">
                  <c:v>185.3</c:v>
                </c:pt>
                <c:pt idx="1049">
                  <c:v>188.3</c:v>
                </c:pt>
                <c:pt idx="1050">
                  <c:v>171.2</c:v>
                </c:pt>
                <c:pt idx="1051">
                  <c:v>175.5</c:v>
                </c:pt>
                <c:pt idx="1052">
                  <c:v>177.7</c:v>
                </c:pt>
                <c:pt idx="1053">
                  <c:v>147.1</c:v>
                </c:pt>
                <c:pt idx="1054">
                  <c:v>130.6</c:v>
                </c:pt>
                <c:pt idx="1055">
                  <c:v>161.9</c:v>
                </c:pt>
                <c:pt idx="1056">
                  <c:v>166.4</c:v>
                </c:pt>
                <c:pt idx="1057">
                  <c:v>182.5</c:v>
                </c:pt>
                <c:pt idx="1058">
                  <c:v>178.9</c:v>
                </c:pt>
                <c:pt idx="1059">
                  <c:v>176.3</c:v>
                </c:pt>
                <c:pt idx="1060">
                  <c:v>152.69999999999999</c:v>
                </c:pt>
                <c:pt idx="1061">
                  <c:v>142</c:v>
                </c:pt>
                <c:pt idx="1062">
                  <c:v>192.8</c:v>
                </c:pt>
                <c:pt idx="1063">
                  <c:v>186</c:v>
                </c:pt>
                <c:pt idx="1064">
                  <c:v>173.4</c:v>
                </c:pt>
                <c:pt idx="1065">
                  <c:v>175</c:v>
                </c:pt>
                <c:pt idx="1066">
                  <c:v>178.3</c:v>
                </c:pt>
                <c:pt idx="1067">
                  <c:v>165.6</c:v>
                </c:pt>
                <c:pt idx="1068">
                  <c:v>168.6</c:v>
                </c:pt>
                <c:pt idx="1069">
                  <c:v>198.8</c:v>
                </c:pt>
                <c:pt idx="1070">
                  <c:v>181</c:v>
                </c:pt>
                <c:pt idx="1071">
                  <c:v>188</c:v>
                </c:pt>
                <c:pt idx="1072">
                  <c:v>203.2</c:v>
                </c:pt>
                <c:pt idx="1073">
                  <c:v>169.1</c:v>
                </c:pt>
                <c:pt idx="1074">
                  <c:v>149.5</c:v>
                </c:pt>
                <c:pt idx="1075">
                  <c:v>145.4</c:v>
                </c:pt>
                <c:pt idx="1076">
                  <c:v>171.4</c:v>
                </c:pt>
                <c:pt idx="1077">
                  <c:v>171.5</c:v>
                </c:pt>
                <c:pt idx="1078">
                  <c:v>155.9</c:v>
                </c:pt>
                <c:pt idx="1079">
                  <c:v>162.19999999999999</c:v>
                </c:pt>
                <c:pt idx="1080">
                  <c:v>151.4</c:v>
                </c:pt>
                <c:pt idx="1081">
                  <c:v>130.30000000000001</c:v>
                </c:pt>
                <c:pt idx="1082">
                  <c:v>125.5</c:v>
                </c:pt>
                <c:pt idx="1083">
                  <c:v>173.6</c:v>
                </c:pt>
                <c:pt idx="1084">
                  <c:v>172.6</c:v>
                </c:pt>
                <c:pt idx="1085">
                  <c:v>172.8</c:v>
                </c:pt>
                <c:pt idx="1086">
                  <c:v>178.2</c:v>
                </c:pt>
                <c:pt idx="1087">
                  <c:v>176.5</c:v>
                </c:pt>
                <c:pt idx="1088">
                  <c:v>146.5</c:v>
                </c:pt>
                <c:pt idx="1089">
                  <c:v>140.1</c:v>
                </c:pt>
                <c:pt idx="1090">
                  <c:v>172.8</c:v>
                </c:pt>
                <c:pt idx="1091">
                  <c:v>176</c:v>
                </c:pt>
                <c:pt idx="1092">
                  <c:v>177.9</c:v>
                </c:pt>
                <c:pt idx="1093">
                  <c:v>190.8</c:v>
                </c:pt>
                <c:pt idx="1094">
                  <c:v>183.6</c:v>
                </c:pt>
                <c:pt idx="1095">
                  <c:v>168.2</c:v>
                </c:pt>
                <c:pt idx="1096">
                  <c:v>146.30000000000001</c:v>
                </c:pt>
                <c:pt idx="1097">
                  <c:v>162.69999999999999</c:v>
                </c:pt>
                <c:pt idx="1098">
                  <c:v>175.6</c:v>
                </c:pt>
                <c:pt idx="1099">
                  <c:v>168.1</c:v>
                </c:pt>
                <c:pt idx="1100">
                  <c:v>160.80000000000001</c:v>
                </c:pt>
                <c:pt idx="1101">
                  <c:v>161</c:v>
                </c:pt>
                <c:pt idx="1102">
                  <c:v>126.6</c:v>
                </c:pt>
                <c:pt idx="1103">
                  <c:v>126.5</c:v>
                </c:pt>
                <c:pt idx="1104">
                  <c:v>146.1</c:v>
                </c:pt>
                <c:pt idx="1105">
                  <c:v>146.5</c:v>
                </c:pt>
                <c:pt idx="1106">
                  <c:v>136.69999999999999</c:v>
                </c:pt>
                <c:pt idx="1107">
                  <c:v>143.80000000000001</c:v>
                </c:pt>
                <c:pt idx="1108">
                  <c:v>151.5</c:v>
                </c:pt>
                <c:pt idx="1109">
                  <c:v>169.5</c:v>
                </c:pt>
                <c:pt idx="1110">
                  <c:v>124.5</c:v>
                </c:pt>
                <c:pt idx="1111">
                  <c:v>119.8</c:v>
                </c:pt>
                <c:pt idx="1112">
                  <c:v>123.6</c:v>
                </c:pt>
                <c:pt idx="1113">
                  <c:v>131.19999999999999</c:v>
                </c:pt>
                <c:pt idx="1114">
                  <c:v>148.6</c:v>
                </c:pt>
                <c:pt idx="1115">
                  <c:v>146.4</c:v>
                </c:pt>
                <c:pt idx="1116">
                  <c:v>124.3</c:v>
                </c:pt>
                <c:pt idx="1117">
                  <c:v>112</c:v>
                </c:pt>
                <c:pt idx="1118">
                  <c:v>120.3</c:v>
                </c:pt>
                <c:pt idx="1119">
                  <c:v>165.6</c:v>
                </c:pt>
                <c:pt idx="1120">
                  <c:v>173.7</c:v>
                </c:pt>
                <c:pt idx="1121">
                  <c:v>182.7</c:v>
                </c:pt>
                <c:pt idx="1122">
                  <c:v>204</c:v>
                </c:pt>
                <c:pt idx="1123">
                  <c:v>140</c:v>
                </c:pt>
                <c:pt idx="1124">
                  <c:v>141.9</c:v>
                </c:pt>
                <c:pt idx="1125">
                  <c:v>164</c:v>
                </c:pt>
                <c:pt idx="1126">
                  <c:v>189.7</c:v>
                </c:pt>
                <c:pt idx="1127">
                  <c:v>186.1</c:v>
                </c:pt>
                <c:pt idx="1128">
                  <c:v>184.5</c:v>
                </c:pt>
                <c:pt idx="1129">
                  <c:v>176.1</c:v>
                </c:pt>
                <c:pt idx="1130">
                  <c:v>158.30000000000001</c:v>
                </c:pt>
                <c:pt idx="1131">
                  <c:v>149.69999999999999</c:v>
                </c:pt>
                <c:pt idx="1132">
                  <c:v>179.9</c:v>
                </c:pt>
                <c:pt idx="1133">
                  <c:v>184.8</c:v>
                </c:pt>
                <c:pt idx="1134">
                  <c:v>190.2</c:v>
                </c:pt>
                <c:pt idx="1135">
                  <c:v>218</c:v>
                </c:pt>
                <c:pt idx="1136">
                  <c:v>211.3</c:v>
                </c:pt>
                <c:pt idx="1137">
                  <c:v>160.6</c:v>
                </c:pt>
                <c:pt idx="1138">
                  <c:v>148.4</c:v>
                </c:pt>
                <c:pt idx="1139">
                  <c:v>179.5</c:v>
                </c:pt>
                <c:pt idx="1140">
                  <c:v>179.1</c:v>
                </c:pt>
                <c:pt idx="1141">
                  <c:v>183.2</c:v>
                </c:pt>
                <c:pt idx="1142">
                  <c:v>176.2</c:v>
                </c:pt>
                <c:pt idx="1143">
                  <c:v>165.7</c:v>
                </c:pt>
                <c:pt idx="1144">
                  <c:v>118.2</c:v>
                </c:pt>
                <c:pt idx="1145">
                  <c:v>121.3</c:v>
                </c:pt>
                <c:pt idx="1146">
                  <c:v>183.2</c:v>
                </c:pt>
                <c:pt idx="1147">
                  <c:v>157.19999999999999</c:v>
                </c:pt>
                <c:pt idx="1148">
                  <c:v>161</c:v>
                </c:pt>
                <c:pt idx="1149">
                  <c:v>148.30000000000001</c:v>
                </c:pt>
                <c:pt idx="1150">
                  <c:v>157</c:v>
                </c:pt>
                <c:pt idx="1151">
                  <c:v>139.6</c:v>
                </c:pt>
                <c:pt idx="1152">
                  <c:v>125.5</c:v>
                </c:pt>
                <c:pt idx="1153">
                  <c:v>140.30000000000001</c:v>
                </c:pt>
                <c:pt idx="1154">
                  <c:v>167.2</c:v>
                </c:pt>
                <c:pt idx="1155">
                  <c:v>150.4</c:v>
                </c:pt>
                <c:pt idx="1156">
                  <c:v>171.2</c:v>
                </c:pt>
                <c:pt idx="1157">
                  <c:v>176.4</c:v>
                </c:pt>
                <c:pt idx="1158">
                  <c:v>143.6</c:v>
                </c:pt>
                <c:pt idx="1159">
                  <c:v>140.30000000000001</c:v>
                </c:pt>
                <c:pt idx="1160">
                  <c:v>145.9</c:v>
                </c:pt>
                <c:pt idx="1161">
                  <c:v>172.1</c:v>
                </c:pt>
                <c:pt idx="1162">
                  <c:v>179.1</c:v>
                </c:pt>
                <c:pt idx="1163">
                  <c:v>188.8</c:v>
                </c:pt>
                <c:pt idx="1164">
                  <c:v>193.6</c:v>
                </c:pt>
                <c:pt idx="1165">
                  <c:v>148</c:v>
                </c:pt>
                <c:pt idx="1166">
                  <c:v>140.4</c:v>
                </c:pt>
                <c:pt idx="1167">
                  <c:v>167</c:v>
                </c:pt>
                <c:pt idx="1168">
                  <c:v>157.5</c:v>
                </c:pt>
                <c:pt idx="1169">
                  <c:v>175.9</c:v>
                </c:pt>
                <c:pt idx="1170">
                  <c:v>181.6</c:v>
                </c:pt>
                <c:pt idx="1171">
                  <c:v>208.9</c:v>
                </c:pt>
                <c:pt idx="1172">
                  <c:v>197.9</c:v>
                </c:pt>
                <c:pt idx="1173">
                  <c:v>194.8</c:v>
                </c:pt>
                <c:pt idx="1174">
                  <c:v>230.3</c:v>
                </c:pt>
                <c:pt idx="1175">
                  <c:v>187.9</c:v>
                </c:pt>
                <c:pt idx="1176">
                  <c:v>193.8</c:v>
                </c:pt>
                <c:pt idx="1177">
                  <c:v>198</c:v>
                </c:pt>
                <c:pt idx="1178">
                  <c:v>207</c:v>
                </c:pt>
                <c:pt idx="1179">
                  <c:v>167.9</c:v>
                </c:pt>
                <c:pt idx="1180">
                  <c:v>165.3</c:v>
                </c:pt>
                <c:pt idx="1181">
                  <c:v>201.3</c:v>
                </c:pt>
                <c:pt idx="1182">
                  <c:v>204.6</c:v>
                </c:pt>
                <c:pt idx="1183">
                  <c:v>207</c:v>
                </c:pt>
                <c:pt idx="1184">
                  <c:v>205</c:v>
                </c:pt>
                <c:pt idx="1185">
                  <c:v>202.1</c:v>
                </c:pt>
                <c:pt idx="1186">
                  <c:v>170</c:v>
                </c:pt>
                <c:pt idx="1187">
                  <c:v>169</c:v>
                </c:pt>
                <c:pt idx="1188">
                  <c:v>191.1</c:v>
                </c:pt>
                <c:pt idx="1189">
                  <c:v>226.2</c:v>
                </c:pt>
                <c:pt idx="1190">
                  <c:v>231.3</c:v>
                </c:pt>
                <c:pt idx="1191">
                  <c:v>233.4</c:v>
                </c:pt>
                <c:pt idx="1192">
                  <c:v>230.6</c:v>
                </c:pt>
                <c:pt idx="1193">
                  <c:v>228.2</c:v>
                </c:pt>
                <c:pt idx="1194">
                  <c:v>222.4</c:v>
                </c:pt>
                <c:pt idx="1195">
                  <c:v>258.3</c:v>
                </c:pt>
                <c:pt idx="1196">
                  <c:v>260</c:v>
                </c:pt>
                <c:pt idx="1197">
                  <c:v>262.3</c:v>
                </c:pt>
                <c:pt idx="1198">
                  <c:v>257.3</c:v>
                </c:pt>
                <c:pt idx="1199">
                  <c:v>241.8</c:v>
                </c:pt>
                <c:pt idx="1200">
                  <c:v>210.5</c:v>
                </c:pt>
                <c:pt idx="1201">
                  <c:v>200.7</c:v>
                </c:pt>
                <c:pt idx="1202">
                  <c:v>238.1</c:v>
                </c:pt>
                <c:pt idx="1203">
                  <c:v>245</c:v>
                </c:pt>
                <c:pt idx="1204">
                  <c:v>231</c:v>
                </c:pt>
                <c:pt idx="1205">
                  <c:v>251.9</c:v>
                </c:pt>
                <c:pt idx="1206">
                  <c:v>273.10000000000002</c:v>
                </c:pt>
                <c:pt idx="1207">
                  <c:v>241.3</c:v>
                </c:pt>
                <c:pt idx="1208">
                  <c:v>224</c:v>
                </c:pt>
                <c:pt idx="1209">
                  <c:v>267.3</c:v>
                </c:pt>
                <c:pt idx="1210">
                  <c:v>264.60000000000002</c:v>
                </c:pt>
                <c:pt idx="1211">
                  <c:v>242.4</c:v>
                </c:pt>
                <c:pt idx="1212">
                  <c:v>260.39999999999998</c:v>
                </c:pt>
                <c:pt idx="1213">
                  <c:v>232.2</c:v>
                </c:pt>
                <c:pt idx="1214">
                  <c:v>213.3</c:v>
                </c:pt>
                <c:pt idx="1215">
                  <c:v>202.3</c:v>
                </c:pt>
                <c:pt idx="1216">
                  <c:v>283</c:v>
                </c:pt>
                <c:pt idx="1217">
                  <c:v>279.89999999999998</c:v>
                </c:pt>
                <c:pt idx="1218">
                  <c:v>245.7</c:v>
                </c:pt>
                <c:pt idx="1219">
                  <c:v>243.7</c:v>
                </c:pt>
                <c:pt idx="1220">
                  <c:v>262.5</c:v>
                </c:pt>
                <c:pt idx="1221">
                  <c:v>200.8</c:v>
                </c:pt>
                <c:pt idx="1222">
                  <c:v>192.5</c:v>
                </c:pt>
                <c:pt idx="1223">
                  <c:v>240.9</c:v>
                </c:pt>
                <c:pt idx="1224">
                  <c:v>238.5</c:v>
                </c:pt>
                <c:pt idx="1225">
                  <c:v>235.7</c:v>
                </c:pt>
                <c:pt idx="1226">
                  <c:v>244.8</c:v>
                </c:pt>
                <c:pt idx="1227">
                  <c:v>235</c:v>
                </c:pt>
                <c:pt idx="1228">
                  <c:v>208.3</c:v>
                </c:pt>
                <c:pt idx="1229">
                  <c:v>207.5</c:v>
                </c:pt>
                <c:pt idx="1230">
                  <c:v>249.4</c:v>
                </c:pt>
                <c:pt idx="1231">
                  <c:v>269.8</c:v>
                </c:pt>
                <c:pt idx="1232">
                  <c:v>278.2</c:v>
                </c:pt>
                <c:pt idx="1233">
                  <c:v>261.39999999999998</c:v>
                </c:pt>
                <c:pt idx="1234">
                  <c:v>267.5</c:v>
                </c:pt>
                <c:pt idx="1235">
                  <c:v>228.5</c:v>
                </c:pt>
                <c:pt idx="1236">
                  <c:v>220.3</c:v>
                </c:pt>
                <c:pt idx="1237">
                  <c:v>280.5</c:v>
                </c:pt>
                <c:pt idx="1238">
                  <c:v>317.89999999999998</c:v>
                </c:pt>
                <c:pt idx="1239">
                  <c:v>299.8</c:v>
                </c:pt>
                <c:pt idx="1240">
                  <c:v>290.2</c:v>
                </c:pt>
                <c:pt idx="1241">
                  <c:v>241.3</c:v>
                </c:pt>
                <c:pt idx="1242">
                  <c:v>214.3</c:v>
                </c:pt>
                <c:pt idx="1243">
                  <c:v>222.7</c:v>
                </c:pt>
                <c:pt idx="1244">
                  <c:v>219.9</c:v>
                </c:pt>
                <c:pt idx="1245">
                  <c:v>227.8</c:v>
                </c:pt>
                <c:pt idx="1246">
                  <c:v>229</c:v>
                </c:pt>
                <c:pt idx="1247">
                  <c:v>230.8</c:v>
                </c:pt>
                <c:pt idx="1248">
                  <c:v>233.6</c:v>
                </c:pt>
                <c:pt idx="1249">
                  <c:v>236.3</c:v>
                </c:pt>
                <c:pt idx="1250">
                  <c:v>256</c:v>
                </c:pt>
                <c:pt idx="1251">
                  <c:v>278.89999999999998</c:v>
                </c:pt>
                <c:pt idx="1252">
                  <c:v>295.2</c:v>
                </c:pt>
                <c:pt idx="1253">
                  <c:v>310.7</c:v>
                </c:pt>
                <c:pt idx="1254">
                  <c:v>306.89999999999998</c:v>
                </c:pt>
                <c:pt idx="1255">
                  <c:v>305.89999999999998</c:v>
                </c:pt>
                <c:pt idx="1256">
                  <c:v>283.8</c:v>
                </c:pt>
                <c:pt idx="1257">
                  <c:v>284</c:v>
                </c:pt>
                <c:pt idx="1258">
                  <c:v>327.39999999999998</c:v>
                </c:pt>
                <c:pt idx="1259">
                  <c:v>348.9</c:v>
                </c:pt>
                <c:pt idx="1260">
                  <c:v>342.6</c:v>
                </c:pt>
                <c:pt idx="1261">
                  <c:v>352.9</c:v>
                </c:pt>
                <c:pt idx="1262">
                  <c:v>351.2</c:v>
                </c:pt>
                <c:pt idx="1263">
                  <c:v>333.8</c:v>
                </c:pt>
                <c:pt idx="1264">
                  <c:v>337.6</c:v>
                </c:pt>
                <c:pt idx="1265">
                  <c:v>369.6</c:v>
                </c:pt>
                <c:pt idx="1266">
                  <c:v>397</c:v>
                </c:pt>
                <c:pt idx="1267">
                  <c:v>385.7</c:v>
                </c:pt>
                <c:pt idx="1268">
                  <c:v>359.1</c:v>
                </c:pt>
                <c:pt idx="1269">
                  <c:v>337.9</c:v>
                </c:pt>
                <c:pt idx="1270">
                  <c:v>324.8</c:v>
                </c:pt>
                <c:pt idx="1271">
                  <c:v>320.2</c:v>
                </c:pt>
                <c:pt idx="1272">
                  <c:v>383.7</c:v>
                </c:pt>
                <c:pt idx="1273">
                  <c:v>404.7</c:v>
                </c:pt>
                <c:pt idx="1274">
                  <c:v>398.5</c:v>
                </c:pt>
                <c:pt idx="1275">
                  <c:v>404.6</c:v>
                </c:pt>
                <c:pt idx="1276">
                  <c:v>362.1</c:v>
                </c:pt>
                <c:pt idx="1277">
                  <c:v>340.1</c:v>
                </c:pt>
                <c:pt idx="1278">
                  <c:v>340.4</c:v>
                </c:pt>
                <c:pt idx="1279">
                  <c:v>350.2</c:v>
                </c:pt>
                <c:pt idx="1280">
                  <c:v>322.60000000000002</c:v>
                </c:pt>
                <c:pt idx="1281">
                  <c:v>345.9</c:v>
                </c:pt>
                <c:pt idx="1282">
                  <c:v>354</c:v>
                </c:pt>
                <c:pt idx="1283">
                  <c:v>351.9</c:v>
                </c:pt>
                <c:pt idx="1284">
                  <c:v>304.60000000000002</c:v>
                </c:pt>
                <c:pt idx="1285">
                  <c:v>296.89999999999998</c:v>
                </c:pt>
                <c:pt idx="1286">
                  <c:v>324.7</c:v>
                </c:pt>
                <c:pt idx="1287">
                  <c:v>332.5</c:v>
                </c:pt>
                <c:pt idx="1288">
                  <c:v>340.5</c:v>
                </c:pt>
                <c:pt idx="1289">
                  <c:v>352.4</c:v>
                </c:pt>
                <c:pt idx="1290">
                  <c:v>344.4</c:v>
                </c:pt>
                <c:pt idx="1291">
                  <c:v>325.10000000000002</c:v>
                </c:pt>
                <c:pt idx="1292">
                  <c:v>295.89999999999998</c:v>
                </c:pt>
                <c:pt idx="1293">
                  <c:v>325.39999999999998</c:v>
                </c:pt>
                <c:pt idx="1294">
                  <c:v>330</c:v>
                </c:pt>
                <c:pt idx="1295">
                  <c:v>325</c:v>
                </c:pt>
                <c:pt idx="1296">
                  <c:v>345.1</c:v>
                </c:pt>
                <c:pt idx="1297">
                  <c:v>349.3</c:v>
                </c:pt>
                <c:pt idx="1298">
                  <c:v>284.3</c:v>
                </c:pt>
                <c:pt idx="1299">
                  <c:v>272.39999999999998</c:v>
                </c:pt>
                <c:pt idx="1300">
                  <c:v>290.8</c:v>
                </c:pt>
                <c:pt idx="1301">
                  <c:v>292.3</c:v>
                </c:pt>
                <c:pt idx="1302">
                  <c:v>303.10000000000002</c:v>
                </c:pt>
                <c:pt idx="1303">
                  <c:v>295.5</c:v>
                </c:pt>
                <c:pt idx="1304">
                  <c:v>288.3</c:v>
                </c:pt>
                <c:pt idx="1305">
                  <c:v>281.60000000000002</c:v>
                </c:pt>
                <c:pt idx="1306">
                  <c:v>281.2</c:v>
                </c:pt>
                <c:pt idx="1307">
                  <c:v>318.60000000000002</c:v>
                </c:pt>
                <c:pt idx="1308">
                  <c:v>329.6</c:v>
                </c:pt>
                <c:pt idx="1309">
                  <c:v>327.8</c:v>
                </c:pt>
                <c:pt idx="1310">
                  <c:v>326.60000000000002</c:v>
                </c:pt>
                <c:pt idx="1311">
                  <c:v>320.3</c:v>
                </c:pt>
                <c:pt idx="1312">
                  <c:v>306.89999999999998</c:v>
                </c:pt>
                <c:pt idx="1313">
                  <c:v>296.5</c:v>
                </c:pt>
                <c:pt idx="1314">
                  <c:v>345.6</c:v>
                </c:pt>
                <c:pt idx="1315">
                  <c:v>369.2</c:v>
                </c:pt>
                <c:pt idx="1316">
                  <c:v>364.6</c:v>
                </c:pt>
                <c:pt idx="1317">
                  <c:v>346.8</c:v>
                </c:pt>
                <c:pt idx="1318">
                  <c:v>361.1</c:v>
                </c:pt>
                <c:pt idx="1319">
                  <c:v>323.89999999999998</c:v>
                </c:pt>
                <c:pt idx="1320">
                  <c:v>311.2</c:v>
                </c:pt>
                <c:pt idx="1321">
                  <c:v>314.10000000000002</c:v>
                </c:pt>
                <c:pt idx="1322">
                  <c:v>341.9</c:v>
                </c:pt>
                <c:pt idx="1323">
                  <c:v>359.6</c:v>
                </c:pt>
                <c:pt idx="1324">
                  <c:v>340.3</c:v>
                </c:pt>
                <c:pt idx="1325">
                  <c:v>359.4</c:v>
                </c:pt>
                <c:pt idx="1326">
                  <c:v>333.7</c:v>
                </c:pt>
                <c:pt idx="1327">
                  <c:v>325.89999999999998</c:v>
                </c:pt>
                <c:pt idx="1328">
                  <c:v>358.4</c:v>
                </c:pt>
                <c:pt idx="1329">
                  <c:v>354</c:v>
                </c:pt>
                <c:pt idx="1330">
                  <c:v>356.3</c:v>
                </c:pt>
                <c:pt idx="1331">
                  <c:v>352.5</c:v>
                </c:pt>
                <c:pt idx="1332">
                  <c:v>349.3</c:v>
                </c:pt>
                <c:pt idx="1333">
                  <c:v>310.60000000000002</c:v>
                </c:pt>
                <c:pt idx="1334">
                  <c:v>304.7</c:v>
                </c:pt>
                <c:pt idx="1335">
                  <c:v>354.7</c:v>
                </c:pt>
                <c:pt idx="1336">
                  <c:v>371.7</c:v>
                </c:pt>
                <c:pt idx="1337">
                  <c:v>340.8</c:v>
                </c:pt>
                <c:pt idx="1338">
                  <c:v>339.7</c:v>
                </c:pt>
                <c:pt idx="1339">
                  <c:v>331.7</c:v>
                </c:pt>
                <c:pt idx="1340">
                  <c:v>317.39999999999998</c:v>
                </c:pt>
                <c:pt idx="1341">
                  <c:v>326.5</c:v>
                </c:pt>
                <c:pt idx="1342">
                  <c:v>367.9</c:v>
                </c:pt>
                <c:pt idx="1343">
                  <c:v>377.3</c:v>
                </c:pt>
                <c:pt idx="1344">
                  <c:v>369.6</c:v>
                </c:pt>
                <c:pt idx="1345">
                  <c:v>350.6</c:v>
                </c:pt>
                <c:pt idx="1346">
                  <c:v>337</c:v>
                </c:pt>
                <c:pt idx="1347">
                  <c:v>341.7</c:v>
                </c:pt>
                <c:pt idx="1348">
                  <c:v>329</c:v>
                </c:pt>
                <c:pt idx="1349">
                  <c:v>343.3</c:v>
                </c:pt>
                <c:pt idx="1350">
                  <c:v>362.8</c:v>
                </c:pt>
                <c:pt idx="1351">
                  <c:v>368.4</c:v>
                </c:pt>
                <c:pt idx="1352">
                  <c:v>333.8</c:v>
                </c:pt>
                <c:pt idx="1353">
                  <c:v>336</c:v>
                </c:pt>
                <c:pt idx="1354">
                  <c:v>321.60000000000002</c:v>
                </c:pt>
                <c:pt idx="1355">
                  <c:v>333.6</c:v>
                </c:pt>
                <c:pt idx="1356">
                  <c:v>347.6</c:v>
                </c:pt>
                <c:pt idx="1357">
                  <c:v>348.1</c:v>
                </c:pt>
                <c:pt idx="1358">
                  <c:v>352.1</c:v>
                </c:pt>
                <c:pt idx="1359">
                  <c:v>361.7</c:v>
                </c:pt>
                <c:pt idx="1360">
                  <c:v>368.4</c:v>
                </c:pt>
                <c:pt idx="1361">
                  <c:v>342.9</c:v>
                </c:pt>
                <c:pt idx="1362">
                  <c:v>346.8</c:v>
                </c:pt>
                <c:pt idx="1363">
                  <c:v>397.2</c:v>
                </c:pt>
                <c:pt idx="1364">
                  <c:v>416.7</c:v>
                </c:pt>
                <c:pt idx="1365">
                  <c:v>403.7</c:v>
                </c:pt>
                <c:pt idx="1366">
                  <c:v>398.4</c:v>
                </c:pt>
                <c:pt idx="1367">
                  <c:v>383.3</c:v>
                </c:pt>
                <c:pt idx="1368">
                  <c:v>373.9</c:v>
                </c:pt>
                <c:pt idx="1369">
                  <c:v>357.3</c:v>
                </c:pt>
                <c:pt idx="1370">
                  <c:v>359.3</c:v>
                </c:pt>
                <c:pt idx="1371">
                  <c:v>375.4</c:v>
                </c:pt>
                <c:pt idx="1372">
                  <c:v>372.5</c:v>
                </c:pt>
                <c:pt idx="1373">
                  <c:v>367.9</c:v>
                </c:pt>
                <c:pt idx="1374">
                  <c:v>358.3</c:v>
                </c:pt>
                <c:pt idx="1375">
                  <c:v>338.8</c:v>
                </c:pt>
                <c:pt idx="1376">
                  <c:v>336.5</c:v>
                </c:pt>
                <c:pt idx="1377">
                  <c:v>359.2</c:v>
                </c:pt>
                <c:pt idx="1378">
                  <c:v>331.3</c:v>
                </c:pt>
                <c:pt idx="1379">
                  <c:v>332.4</c:v>
                </c:pt>
                <c:pt idx="1380">
                  <c:v>338.4</c:v>
                </c:pt>
                <c:pt idx="1381">
                  <c:v>370.9</c:v>
                </c:pt>
                <c:pt idx="1382">
                  <c:v>346.2</c:v>
                </c:pt>
                <c:pt idx="1383">
                  <c:v>327.39999999999998</c:v>
                </c:pt>
                <c:pt idx="1384">
                  <c:v>347.2</c:v>
                </c:pt>
                <c:pt idx="1385">
                  <c:v>363.1</c:v>
                </c:pt>
                <c:pt idx="1386">
                  <c:v>345.6</c:v>
                </c:pt>
                <c:pt idx="1387">
                  <c:v>359.6</c:v>
                </c:pt>
                <c:pt idx="1388">
                  <c:v>356.8</c:v>
                </c:pt>
                <c:pt idx="1389">
                  <c:v>343.3</c:v>
                </c:pt>
                <c:pt idx="1390">
                  <c:v>346.2</c:v>
                </c:pt>
                <c:pt idx="1391">
                  <c:v>366.9</c:v>
                </c:pt>
                <c:pt idx="1392">
                  <c:v>368.7</c:v>
                </c:pt>
                <c:pt idx="1393">
                  <c:v>369.4</c:v>
                </c:pt>
                <c:pt idx="1394">
                  <c:v>355.2</c:v>
                </c:pt>
                <c:pt idx="1395">
                  <c:v>349.5</c:v>
                </c:pt>
                <c:pt idx="1396">
                  <c:v>324.8</c:v>
                </c:pt>
                <c:pt idx="1397">
                  <c:v>324.10000000000002</c:v>
                </c:pt>
                <c:pt idx="1398">
                  <c:v>360.3</c:v>
                </c:pt>
                <c:pt idx="1399">
                  <c:v>365.5</c:v>
                </c:pt>
                <c:pt idx="1400">
                  <c:v>347.6</c:v>
                </c:pt>
                <c:pt idx="1401">
                  <c:v>354.9</c:v>
                </c:pt>
                <c:pt idx="1402">
                  <c:v>353.7</c:v>
                </c:pt>
                <c:pt idx="1403">
                  <c:v>330.9</c:v>
                </c:pt>
                <c:pt idx="1404">
                  <c:v>314.7</c:v>
                </c:pt>
                <c:pt idx="1405">
                  <c:v>317.3</c:v>
                </c:pt>
                <c:pt idx="1406">
                  <c:v>321.60000000000002</c:v>
                </c:pt>
                <c:pt idx="1407">
                  <c:v>337.7</c:v>
                </c:pt>
                <c:pt idx="1408">
                  <c:v>323.7</c:v>
                </c:pt>
                <c:pt idx="1409">
                  <c:v>337</c:v>
                </c:pt>
                <c:pt idx="1410">
                  <c:v>317.3</c:v>
                </c:pt>
                <c:pt idx="1411">
                  <c:v>306.3</c:v>
                </c:pt>
                <c:pt idx="1412">
                  <c:v>345.2</c:v>
                </c:pt>
                <c:pt idx="1413">
                  <c:v>355.4</c:v>
                </c:pt>
                <c:pt idx="1414">
                  <c:v>385.3</c:v>
                </c:pt>
                <c:pt idx="1415">
                  <c:v>385.4</c:v>
                </c:pt>
                <c:pt idx="1416">
                  <c:v>361.9</c:v>
                </c:pt>
                <c:pt idx="1417">
                  <c:v>314.7</c:v>
                </c:pt>
                <c:pt idx="1418">
                  <c:v>291.39999999999998</c:v>
                </c:pt>
                <c:pt idx="1419">
                  <c:v>341.2</c:v>
                </c:pt>
                <c:pt idx="1420">
                  <c:v>385</c:v>
                </c:pt>
                <c:pt idx="1421">
                  <c:v>358.6</c:v>
                </c:pt>
                <c:pt idx="1422">
                  <c:v>368.6</c:v>
                </c:pt>
                <c:pt idx="1423">
                  <c:v>320</c:v>
                </c:pt>
                <c:pt idx="1424">
                  <c:v>324.5</c:v>
                </c:pt>
                <c:pt idx="1425">
                  <c:v>314.2</c:v>
                </c:pt>
                <c:pt idx="1426">
                  <c:v>342.6</c:v>
                </c:pt>
                <c:pt idx="1427">
                  <c:v>359.7</c:v>
                </c:pt>
                <c:pt idx="1428">
                  <c:v>335.8</c:v>
                </c:pt>
                <c:pt idx="1429">
                  <c:v>341.6</c:v>
                </c:pt>
                <c:pt idx="1430">
                  <c:v>359.3</c:v>
                </c:pt>
                <c:pt idx="1431">
                  <c:v>328.5</c:v>
                </c:pt>
                <c:pt idx="1432">
                  <c:v>324.10000000000002</c:v>
                </c:pt>
                <c:pt idx="1433">
                  <c:v>354.4</c:v>
                </c:pt>
                <c:pt idx="1434">
                  <c:v>356.7</c:v>
                </c:pt>
                <c:pt idx="1435">
                  <c:v>355.5</c:v>
                </c:pt>
                <c:pt idx="1436">
                  <c:v>343.1</c:v>
                </c:pt>
                <c:pt idx="1437">
                  <c:v>333.7</c:v>
                </c:pt>
                <c:pt idx="1438">
                  <c:v>342</c:v>
                </c:pt>
                <c:pt idx="1439">
                  <c:v>349.6</c:v>
                </c:pt>
                <c:pt idx="1440">
                  <c:v>375.4</c:v>
                </c:pt>
                <c:pt idx="1441">
                  <c:v>408.8</c:v>
                </c:pt>
                <c:pt idx="1442">
                  <c:v>416</c:v>
                </c:pt>
                <c:pt idx="1443">
                  <c:v>411.7</c:v>
                </c:pt>
                <c:pt idx="1444">
                  <c:v>403.4</c:v>
                </c:pt>
                <c:pt idx="1445">
                  <c:v>392.9</c:v>
                </c:pt>
                <c:pt idx="1446">
                  <c:v>375.9</c:v>
                </c:pt>
                <c:pt idx="1447">
                  <c:v>396.2</c:v>
                </c:pt>
                <c:pt idx="1448">
                  <c:v>389.8</c:v>
                </c:pt>
                <c:pt idx="1449">
                  <c:v>397.8</c:v>
                </c:pt>
                <c:pt idx="1450">
                  <c:v>407.3</c:v>
                </c:pt>
                <c:pt idx="1451">
                  <c:v>408.1</c:v>
                </c:pt>
                <c:pt idx="1452">
                  <c:v>378.7</c:v>
                </c:pt>
                <c:pt idx="1453">
                  <c:v>378.6</c:v>
                </c:pt>
                <c:pt idx="1454">
                  <c:v>398.3</c:v>
                </c:pt>
                <c:pt idx="1455">
                  <c:v>398</c:v>
                </c:pt>
                <c:pt idx="1456">
                  <c:v>402.4</c:v>
                </c:pt>
                <c:pt idx="1457">
                  <c:v>400.8</c:v>
                </c:pt>
                <c:pt idx="1458">
                  <c:v>374.1</c:v>
                </c:pt>
                <c:pt idx="1459">
                  <c:v>335.5</c:v>
                </c:pt>
                <c:pt idx="1460">
                  <c:v>335</c:v>
                </c:pt>
                <c:pt idx="1461">
                  <c:v>369</c:v>
                </c:pt>
                <c:pt idx="1462">
                  <c:v>369.7</c:v>
                </c:pt>
                <c:pt idx="1463">
                  <c:v>358.4</c:v>
                </c:pt>
                <c:pt idx="1464">
                  <c:v>362.4</c:v>
                </c:pt>
                <c:pt idx="1465">
                  <c:v>329.3</c:v>
                </c:pt>
                <c:pt idx="1466">
                  <c:v>311</c:v>
                </c:pt>
                <c:pt idx="1467">
                  <c:v>302.8</c:v>
                </c:pt>
                <c:pt idx="1468">
                  <c:v>339.7</c:v>
                </c:pt>
                <c:pt idx="1469">
                  <c:v>335.4</c:v>
                </c:pt>
                <c:pt idx="1470">
                  <c:v>331.7</c:v>
                </c:pt>
                <c:pt idx="1471">
                  <c:v>353</c:v>
                </c:pt>
                <c:pt idx="1472">
                  <c:v>316.2</c:v>
                </c:pt>
                <c:pt idx="1473">
                  <c:v>312.89999999999998</c:v>
                </c:pt>
                <c:pt idx="1474">
                  <c:v>284.5</c:v>
                </c:pt>
                <c:pt idx="1475">
                  <c:v>306.5</c:v>
                </c:pt>
                <c:pt idx="1476">
                  <c:v>321.5</c:v>
                </c:pt>
                <c:pt idx="1477">
                  <c:v>323.89999999999998</c:v>
                </c:pt>
                <c:pt idx="1478">
                  <c:v>305.39999999999998</c:v>
                </c:pt>
                <c:pt idx="1479">
                  <c:v>317.3</c:v>
                </c:pt>
                <c:pt idx="1480">
                  <c:v>322.39999999999998</c:v>
                </c:pt>
                <c:pt idx="1481">
                  <c:v>294.60000000000002</c:v>
                </c:pt>
                <c:pt idx="1482">
                  <c:v>303</c:v>
                </c:pt>
                <c:pt idx="1483">
                  <c:v>337.1</c:v>
                </c:pt>
                <c:pt idx="1484">
                  <c:v>341</c:v>
                </c:pt>
                <c:pt idx="1485">
                  <c:v>325.2</c:v>
                </c:pt>
                <c:pt idx="1486">
                  <c:v>311.2</c:v>
                </c:pt>
                <c:pt idx="1487">
                  <c:v>305.7</c:v>
                </c:pt>
                <c:pt idx="1488">
                  <c:v>294.7</c:v>
                </c:pt>
                <c:pt idx="1489">
                  <c:v>318.2</c:v>
                </c:pt>
                <c:pt idx="1490">
                  <c:v>350.1</c:v>
                </c:pt>
                <c:pt idx="1491">
                  <c:v>358.4</c:v>
                </c:pt>
                <c:pt idx="1492">
                  <c:v>348.7</c:v>
                </c:pt>
                <c:pt idx="1493">
                  <c:v>351</c:v>
                </c:pt>
                <c:pt idx="1494">
                  <c:v>321.3</c:v>
                </c:pt>
                <c:pt idx="1495">
                  <c:v>303.5</c:v>
                </c:pt>
                <c:pt idx="1496">
                  <c:v>338.7</c:v>
                </c:pt>
                <c:pt idx="1497">
                  <c:v>331.3</c:v>
                </c:pt>
                <c:pt idx="1498">
                  <c:v>357.9</c:v>
                </c:pt>
                <c:pt idx="1499">
                  <c:v>366.2</c:v>
                </c:pt>
                <c:pt idx="1500">
                  <c:v>326.89999999999998</c:v>
                </c:pt>
                <c:pt idx="1501">
                  <c:v>291.60000000000002</c:v>
                </c:pt>
                <c:pt idx="1502">
                  <c:v>279.39999999999998</c:v>
                </c:pt>
                <c:pt idx="1503">
                  <c:v>285.3</c:v>
                </c:pt>
                <c:pt idx="1504">
                  <c:v>295.7</c:v>
                </c:pt>
                <c:pt idx="1505">
                  <c:v>308.5</c:v>
                </c:pt>
                <c:pt idx="1506">
                  <c:v>318.10000000000002</c:v>
                </c:pt>
                <c:pt idx="1507">
                  <c:v>333.4</c:v>
                </c:pt>
                <c:pt idx="1508">
                  <c:v>308.89999999999998</c:v>
                </c:pt>
                <c:pt idx="1509">
                  <c:v>305.89999999999998</c:v>
                </c:pt>
                <c:pt idx="1510">
                  <c:v>333.6</c:v>
                </c:pt>
                <c:pt idx="1511">
                  <c:v>375.5</c:v>
                </c:pt>
                <c:pt idx="1512">
                  <c:v>394.4</c:v>
                </c:pt>
                <c:pt idx="1513">
                  <c:v>389.1</c:v>
                </c:pt>
                <c:pt idx="1514">
                  <c:v>374.2</c:v>
                </c:pt>
                <c:pt idx="1515">
                  <c:v>322.5</c:v>
                </c:pt>
                <c:pt idx="1516">
                  <c:v>314.60000000000002</c:v>
                </c:pt>
                <c:pt idx="1517">
                  <c:v>350.7</c:v>
                </c:pt>
                <c:pt idx="1518">
                  <c:v>334.6</c:v>
                </c:pt>
                <c:pt idx="1519">
                  <c:v>320.2</c:v>
                </c:pt>
                <c:pt idx="1520">
                  <c:v>344.8</c:v>
                </c:pt>
                <c:pt idx="1521">
                  <c:v>344.4</c:v>
                </c:pt>
                <c:pt idx="1522">
                  <c:v>333.4</c:v>
                </c:pt>
                <c:pt idx="1523">
                  <c:v>323.10000000000002</c:v>
                </c:pt>
                <c:pt idx="1524">
                  <c:v>365.6</c:v>
                </c:pt>
                <c:pt idx="1525">
                  <c:v>380.8</c:v>
                </c:pt>
                <c:pt idx="1526">
                  <c:v>359.5</c:v>
                </c:pt>
                <c:pt idx="1527">
                  <c:v>346.8</c:v>
                </c:pt>
                <c:pt idx="1528">
                  <c:v>366.7</c:v>
                </c:pt>
                <c:pt idx="1529">
                  <c:v>335.2</c:v>
                </c:pt>
                <c:pt idx="1530">
                  <c:v>336.3</c:v>
                </c:pt>
                <c:pt idx="1531">
                  <c:v>391.2</c:v>
                </c:pt>
                <c:pt idx="1532">
                  <c:v>397.5</c:v>
                </c:pt>
                <c:pt idx="1533">
                  <c:v>377.2</c:v>
                </c:pt>
                <c:pt idx="1534">
                  <c:v>375.9</c:v>
                </c:pt>
                <c:pt idx="1535">
                  <c:v>374.9</c:v>
                </c:pt>
                <c:pt idx="1536">
                  <c:v>341.9</c:v>
                </c:pt>
                <c:pt idx="1537">
                  <c:v>321.3</c:v>
                </c:pt>
                <c:pt idx="1538">
                  <c:v>356.9</c:v>
                </c:pt>
                <c:pt idx="1539">
                  <c:v>340.2</c:v>
                </c:pt>
                <c:pt idx="1540">
                  <c:v>320</c:v>
                </c:pt>
                <c:pt idx="1541">
                  <c:v>323</c:v>
                </c:pt>
                <c:pt idx="1542">
                  <c:v>346.2</c:v>
                </c:pt>
                <c:pt idx="1543">
                  <c:v>310.89999999999998</c:v>
                </c:pt>
                <c:pt idx="1544">
                  <c:v>295.10000000000002</c:v>
                </c:pt>
                <c:pt idx="1545">
                  <c:v>328.1</c:v>
                </c:pt>
                <c:pt idx="1546">
                  <c:v>333.1</c:v>
                </c:pt>
                <c:pt idx="1547">
                  <c:v>321.7</c:v>
                </c:pt>
                <c:pt idx="1548">
                  <c:v>337</c:v>
                </c:pt>
                <c:pt idx="1549">
                  <c:v>332.1</c:v>
                </c:pt>
                <c:pt idx="1550">
                  <c:v>331.3</c:v>
                </c:pt>
                <c:pt idx="1551">
                  <c:v>330.8</c:v>
                </c:pt>
                <c:pt idx="1552">
                  <c:v>322.60000000000002</c:v>
                </c:pt>
                <c:pt idx="1553">
                  <c:v>336.1</c:v>
                </c:pt>
                <c:pt idx="1554">
                  <c:v>362.4</c:v>
                </c:pt>
                <c:pt idx="1555">
                  <c:v>376.5</c:v>
                </c:pt>
                <c:pt idx="1556">
                  <c:v>408</c:v>
                </c:pt>
                <c:pt idx="1557">
                  <c:v>384.2</c:v>
                </c:pt>
                <c:pt idx="1558">
                  <c:v>357.3</c:v>
                </c:pt>
                <c:pt idx="1559">
                  <c:v>387.4</c:v>
                </c:pt>
                <c:pt idx="1560">
                  <c:v>384.1</c:v>
                </c:pt>
                <c:pt idx="1561">
                  <c:v>409.3</c:v>
                </c:pt>
                <c:pt idx="1562">
                  <c:v>422.3</c:v>
                </c:pt>
                <c:pt idx="1563">
                  <c:v>392.2</c:v>
                </c:pt>
                <c:pt idx="1564">
                  <c:v>363.2</c:v>
                </c:pt>
                <c:pt idx="1565">
                  <c:v>373.7</c:v>
                </c:pt>
                <c:pt idx="1566">
                  <c:v>403.3</c:v>
                </c:pt>
                <c:pt idx="1567">
                  <c:v>378.4</c:v>
                </c:pt>
                <c:pt idx="1568">
                  <c:v>376.3</c:v>
                </c:pt>
                <c:pt idx="1569">
                  <c:v>375.4</c:v>
                </c:pt>
                <c:pt idx="1570">
                  <c:v>384.7</c:v>
                </c:pt>
                <c:pt idx="1571">
                  <c:v>382</c:v>
                </c:pt>
                <c:pt idx="1572">
                  <c:v>378.3</c:v>
                </c:pt>
                <c:pt idx="1573">
                  <c:v>398</c:v>
                </c:pt>
                <c:pt idx="1574">
                  <c:v>374</c:v>
                </c:pt>
                <c:pt idx="1575">
                  <c:v>416.8</c:v>
                </c:pt>
                <c:pt idx="1576">
                  <c:v>423.1</c:v>
                </c:pt>
                <c:pt idx="1577">
                  <c:v>419.3</c:v>
                </c:pt>
                <c:pt idx="1578">
                  <c:v>408.5</c:v>
                </c:pt>
                <c:pt idx="1579">
                  <c:v>410.4</c:v>
                </c:pt>
                <c:pt idx="1580">
                  <c:v>425.1</c:v>
                </c:pt>
                <c:pt idx="1581">
                  <c:v>446.3</c:v>
                </c:pt>
                <c:pt idx="1582">
                  <c:v>455.6</c:v>
                </c:pt>
                <c:pt idx="1583">
                  <c:v>400.2</c:v>
                </c:pt>
                <c:pt idx="1584">
                  <c:v>417</c:v>
                </c:pt>
                <c:pt idx="1585">
                  <c:v>420</c:v>
                </c:pt>
                <c:pt idx="1586">
                  <c:v>419.7</c:v>
                </c:pt>
                <c:pt idx="1587">
                  <c:v>432.4</c:v>
                </c:pt>
                <c:pt idx="1588">
                  <c:v>435.7</c:v>
                </c:pt>
                <c:pt idx="1589">
                  <c:v>432.7</c:v>
                </c:pt>
                <c:pt idx="1590">
                  <c:v>398.9</c:v>
                </c:pt>
                <c:pt idx="1591">
                  <c:v>400.9</c:v>
                </c:pt>
                <c:pt idx="1592">
                  <c:v>377.9</c:v>
                </c:pt>
                <c:pt idx="1593">
                  <c:v>381.4</c:v>
                </c:pt>
                <c:pt idx="1594">
                  <c:v>380.5</c:v>
                </c:pt>
                <c:pt idx="1595">
                  <c:v>382.6</c:v>
                </c:pt>
                <c:pt idx="1596">
                  <c:v>397.3</c:v>
                </c:pt>
                <c:pt idx="1597">
                  <c:v>424.8</c:v>
                </c:pt>
                <c:pt idx="1598">
                  <c:v>430.8</c:v>
                </c:pt>
                <c:pt idx="1599">
                  <c:v>408.9</c:v>
                </c:pt>
                <c:pt idx="1600">
                  <c:v>393.3</c:v>
                </c:pt>
                <c:pt idx="1601">
                  <c:v>385</c:v>
                </c:pt>
                <c:pt idx="1602">
                  <c:v>372.4</c:v>
                </c:pt>
                <c:pt idx="1603">
                  <c:v>380.7</c:v>
                </c:pt>
                <c:pt idx="1604">
                  <c:v>372.6</c:v>
                </c:pt>
                <c:pt idx="1605">
                  <c:v>355.4</c:v>
                </c:pt>
                <c:pt idx="1606">
                  <c:v>349.7</c:v>
                </c:pt>
                <c:pt idx="1607">
                  <c:v>343.7</c:v>
                </c:pt>
                <c:pt idx="1608">
                  <c:v>340.6</c:v>
                </c:pt>
                <c:pt idx="1609">
                  <c:v>368.7</c:v>
                </c:pt>
                <c:pt idx="1610">
                  <c:v>366.4</c:v>
                </c:pt>
                <c:pt idx="1611">
                  <c:v>363.9</c:v>
                </c:pt>
                <c:pt idx="1612">
                  <c:v>351.4</c:v>
                </c:pt>
                <c:pt idx="1613">
                  <c:v>341.8</c:v>
                </c:pt>
                <c:pt idx="1614">
                  <c:v>330.5</c:v>
                </c:pt>
                <c:pt idx="1615">
                  <c:v>372.4</c:v>
                </c:pt>
                <c:pt idx="1616">
                  <c:v>386.3</c:v>
                </c:pt>
                <c:pt idx="1617">
                  <c:v>382.3</c:v>
                </c:pt>
                <c:pt idx="1618">
                  <c:v>357</c:v>
                </c:pt>
                <c:pt idx="1619">
                  <c:v>353.5</c:v>
                </c:pt>
                <c:pt idx="1620">
                  <c:v>344.1</c:v>
                </c:pt>
                <c:pt idx="1621">
                  <c:v>335.7</c:v>
                </c:pt>
                <c:pt idx="1622">
                  <c:v>365.5</c:v>
                </c:pt>
                <c:pt idx="1623">
                  <c:v>371.2</c:v>
                </c:pt>
                <c:pt idx="1624">
                  <c:v>380.9</c:v>
                </c:pt>
                <c:pt idx="1625">
                  <c:v>375.8</c:v>
                </c:pt>
                <c:pt idx="1626">
                  <c:v>368.4</c:v>
                </c:pt>
                <c:pt idx="1627">
                  <c:v>335.7</c:v>
                </c:pt>
                <c:pt idx="1628">
                  <c:v>327.60000000000002</c:v>
                </c:pt>
                <c:pt idx="1629">
                  <c:v>355.9</c:v>
                </c:pt>
                <c:pt idx="1630">
                  <c:v>366</c:v>
                </c:pt>
                <c:pt idx="1631">
                  <c:v>375.3</c:v>
                </c:pt>
                <c:pt idx="1632">
                  <c:v>366.3</c:v>
                </c:pt>
                <c:pt idx="1633">
                  <c:v>382.7</c:v>
                </c:pt>
                <c:pt idx="1634">
                  <c:v>352.4</c:v>
                </c:pt>
                <c:pt idx="1635">
                  <c:v>336.2</c:v>
                </c:pt>
                <c:pt idx="1636">
                  <c:v>378.2</c:v>
                </c:pt>
                <c:pt idx="1637">
                  <c:v>392.1</c:v>
                </c:pt>
                <c:pt idx="1638">
                  <c:v>389.1</c:v>
                </c:pt>
                <c:pt idx="1639">
                  <c:v>384.5</c:v>
                </c:pt>
                <c:pt idx="1640">
                  <c:v>361.7</c:v>
                </c:pt>
                <c:pt idx="1641">
                  <c:v>341.5</c:v>
                </c:pt>
                <c:pt idx="1642">
                  <c:v>341.8</c:v>
                </c:pt>
                <c:pt idx="1643">
                  <c:v>379.9</c:v>
                </c:pt>
                <c:pt idx="1644">
                  <c:v>370.4</c:v>
                </c:pt>
                <c:pt idx="1645">
                  <c:v>373.7</c:v>
                </c:pt>
                <c:pt idx="1646">
                  <c:v>370.8</c:v>
                </c:pt>
                <c:pt idx="1647">
                  <c:v>370.9</c:v>
                </c:pt>
                <c:pt idx="1648">
                  <c:v>338</c:v>
                </c:pt>
                <c:pt idx="1649">
                  <c:v>341.8</c:v>
                </c:pt>
                <c:pt idx="1650">
                  <c:v>357.8</c:v>
                </c:pt>
                <c:pt idx="1651">
                  <c:v>398.7</c:v>
                </c:pt>
                <c:pt idx="1652">
                  <c:v>398.4</c:v>
                </c:pt>
                <c:pt idx="1653">
                  <c:v>392.5</c:v>
                </c:pt>
                <c:pt idx="1654">
                  <c:v>387.4</c:v>
                </c:pt>
                <c:pt idx="1655">
                  <c:v>357.7</c:v>
                </c:pt>
                <c:pt idx="1656">
                  <c:v>350</c:v>
                </c:pt>
                <c:pt idx="1657">
                  <c:v>375.7</c:v>
                </c:pt>
                <c:pt idx="1658">
                  <c:v>374.3</c:v>
                </c:pt>
                <c:pt idx="1659">
                  <c:v>368.4</c:v>
                </c:pt>
                <c:pt idx="1660">
                  <c:v>377.8</c:v>
                </c:pt>
                <c:pt idx="1661">
                  <c:v>354.8</c:v>
                </c:pt>
                <c:pt idx="1662">
                  <c:v>345.3</c:v>
                </c:pt>
                <c:pt idx="1663">
                  <c:v>332</c:v>
                </c:pt>
                <c:pt idx="1664">
                  <c:v>356.8</c:v>
                </c:pt>
                <c:pt idx="1665">
                  <c:v>373.2</c:v>
                </c:pt>
                <c:pt idx="1666">
                  <c:v>390.8</c:v>
                </c:pt>
                <c:pt idx="1667">
                  <c:v>405.3</c:v>
                </c:pt>
                <c:pt idx="1668">
                  <c:v>422</c:v>
                </c:pt>
                <c:pt idx="1669">
                  <c:v>405.4</c:v>
                </c:pt>
                <c:pt idx="1670">
                  <c:v>382.3</c:v>
                </c:pt>
                <c:pt idx="1671">
                  <c:v>404.4</c:v>
                </c:pt>
                <c:pt idx="1672">
                  <c:v>427</c:v>
                </c:pt>
                <c:pt idx="1673">
                  <c:v>447.2</c:v>
                </c:pt>
                <c:pt idx="1674">
                  <c:v>458.9</c:v>
                </c:pt>
                <c:pt idx="1675">
                  <c:v>446.7</c:v>
                </c:pt>
                <c:pt idx="1676">
                  <c:v>423.6</c:v>
                </c:pt>
                <c:pt idx="1677">
                  <c:v>416.2</c:v>
                </c:pt>
                <c:pt idx="1678">
                  <c:v>372.2</c:v>
                </c:pt>
                <c:pt idx="1679">
                  <c:v>298.5</c:v>
                </c:pt>
                <c:pt idx="1680">
                  <c:v>277.10000000000002</c:v>
                </c:pt>
                <c:pt idx="1681">
                  <c:v>256.10000000000002</c:v>
                </c:pt>
                <c:pt idx="1682">
                  <c:v>276.60000000000002</c:v>
                </c:pt>
                <c:pt idx="1683">
                  <c:v>269.89999999999998</c:v>
                </c:pt>
                <c:pt idx="1684">
                  <c:v>277</c:v>
                </c:pt>
                <c:pt idx="1685">
                  <c:v>299.2</c:v>
                </c:pt>
                <c:pt idx="1686">
                  <c:v>310.8</c:v>
                </c:pt>
                <c:pt idx="1687">
                  <c:v>315.3</c:v>
                </c:pt>
                <c:pt idx="1688">
                  <c:v>302.7</c:v>
                </c:pt>
                <c:pt idx="1689">
                  <c:v>332.7</c:v>
                </c:pt>
                <c:pt idx="1690">
                  <c:v>333.6</c:v>
                </c:pt>
                <c:pt idx="1691">
                  <c:v>334.6</c:v>
                </c:pt>
                <c:pt idx="1692">
                  <c:v>351.2</c:v>
                </c:pt>
                <c:pt idx="1693">
                  <c:v>355.1</c:v>
                </c:pt>
                <c:pt idx="1694">
                  <c:v>338.2</c:v>
                </c:pt>
                <c:pt idx="1695">
                  <c:v>304</c:v>
                </c:pt>
                <c:pt idx="1696">
                  <c:v>359.1</c:v>
                </c:pt>
                <c:pt idx="1697">
                  <c:v>335.5</c:v>
                </c:pt>
                <c:pt idx="1698">
                  <c:v>320.5</c:v>
                </c:pt>
                <c:pt idx="1699">
                  <c:v>349.2</c:v>
                </c:pt>
                <c:pt idx="1700">
                  <c:v>319.2</c:v>
                </c:pt>
                <c:pt idx="1701">
                  <c:v>343.1</c:v>
                </c:pt>
                <c:pt idx="1702">
                  <c:v>355.2</c:v>
                </c:pt>
                <c:pt idx="1703">
                  <c:v>334.4</c:v>
                </c:pt>
                <c:pt idx="1704">
                  <c:v>315.89999999999998</c:v>
                </c:pt>
                <c:pt idx="1705">
                  <c:v>337.7</c:v>
                </c:pt>
                <c:pt idx="1706">
                  <c:v>383.4</c:v>
                </c:pt>
                <c:pt idx="1707">
                  <c:v>376.4</c:v>
                </c:pt>
                <c:pt idx="1708">
                  <c:v>388.8</c:v>
                </c:pt>
                <c:pt idx="1709">
                  <c:v>337.1</c:v>
                </c:pt>
                <c:pt idx="1710">
                  <c:v>371</c:v>
                </c:pt>
                <c:pt idx="1711">
                  <c:v>367.2</c:v>
                </c:pt>
                <c:pt idx="1712">
                  <c:v>360.3</c:v>
                </c:pt>
                <c:pt idx="1713">
                  <c:v>343.7</c:v>
                </c:pt>
                <c:pt idx="1714">
                  <c:v>365.7</c:v>
                </c:pt>
                <c:pt idx="1715">
                  <c:v>372.7</c:v>
                </c:pt>
                <c:pt idx="1716">
                  <c:v>330.1</c:v>
                </c:pt>
                <c:pt idx="1717">
                  <c:v>383.7</c:v>
                </c:pt>
                <c:pt idx="1718">
                  <c:v>384.9</c:v>
                </c:pt>
                <c:pt idx="1719">
                  <c:v>391.5</c:v>
                </c:pt>
                <c:pt idx="1720">
                  <c:v>413.5</c:v>
                </c:pt>
                <c:pt idx="1721">
                  <c:v>418</c:v>
                </c:pt>
                <c:pt idx="1722">
                  <c:v>456.2</c:v>
                </c:pt>
                <c:pt idx="1723">
                  <c:v>465.9</c:v>
                </c:pt>
                <c:pt idx="1724">
                  <c:v>452.1</c:v>
                </c:pt>
                <c:pt idx="1725">
                  <c:v>420.5</c:v>
                </c:pt>
                <c:pt idx="1726">
                  <c:v>413.8</c:v>
                </c:pt>
                <c:pt idx="1727">
                  <c:v>453.1</c:v>
                </c:pt>
                <c:pt idx="1728">
                  <c:v>444.5</c:v>
                </c:pt>
                <c:pt idx="1729">
                  <c:v>445.2</c:v>
                </c:pt>
                <c:pt idx="1730">
                  <c:v>447.1</c:v>
                </c:pt>
                <c:pt idx="1731">
                  <c:v>445.6</c:v>
                </c:pt>
                <c:pt idx="1732">
                  <c:v>419.4</c:v>
                </c:pt>
                <c:pt idx="1733">
                  <c:v>421.7</c:v>
                </c:pt>
                <c:pt idx="1734">
                  <c:v>401.4</c:v>
                </c:pt>
                <c:pt idx="1735">
                  <c:v>419.5</c:v>
                </c:pt>
                <c:pt idx="1736">
                  <c:v>399.8</c:v>
                </c:pt>
                <c:pt idx="1737">
                  <c:v>414</c:v>
                </c:pt>
                <c:pt idx="1738">
                  <c:v>434.2</c:v>
                </c:pt>
                <c:pt idx="1739">
                  <c:v>390.4</c:v>
                </c:pt>
                <c:pt idx="1740">
                  <c:v>374.6</c:v>
                </c:pt>
                <c:pt idx="1741">
                  <c:v>386.4</c:v>
                </c:pt>
                <c:pt idx="1742">
                  <c:v>364.3</c:v>
                </c:pt>
                <c:pt idx="1743">
                  <c:v>356.5</c:v>
                </c:pt>
                <c:pt idx="1744">
                  <c:v>355.5</c:v>
                </c:pt>
                <c:pt idx="1745">
                  <c:v>398</c:v>
                </c:pt>
                <c:pt idx="1746">
                  <c:v>401.1</c:v>
                </c:pt>
                <c:pt idx="1747">
                  <c:v>392.8</c:v>
                </c:pt>
                <c:pt idx="1748">
                  <c:v>404.4</c:v>
                </c:pt>
                <c:pt idx="1749">
                  <c:v>368</c:v>
                </c:pt>
                <c:pt idx="1750">
                  <c:v>405.8</c:v>
                </c:pt>
                <c:pt idx="1751">
                  <c:v>405.9</c:v>
                </c:pt>
                <c:pt idx="1752">
                  <c:v>413.1</c:v>
                </c:pt>
                <c:pt idx="1753">
                  <c:v>390.2</c:v>
                </c:pt>
                <c:pt idx="1754">
                  <c:v>395.1</c:v>
                </c:pt>
                <c:pt idx="1755">
                  <c:v>376.9</c:v>
                </c:pt>
                <c:pt idx="1756">
                  <c:v>388.9</c:v>
                </c:pt>
                <c:pt idx="1757">
                  <c:v>399.3</c:v>
                </c:pt>
                <c:pt idx="1758">
                  <c:v>393.8</c:v>
                </c:pt>
                <c:pt idx="1759">
                  <c:v>393.2</c:v>
                </c:pt>
                <c:pt idx="1760">
                  <c:v>407.5</c:v>
                </c:pt>
                <c:pt idx="1761">
                  <c:v>404.3</c:v>
                </c:pt>
                <c:pt idx="1762">
                  <c:v>419.9</c:v>
                </c:pt>
                <c:pt idx="1763">
                  <c:v>396.7</c:v>
                </c:pt>
                <c:pt idx="1764">
                  <c:v>383.7</c:v>
                </c:pt>
                <c:pt idx="1765">
                  <c:v>385.2</c:v>
                </c:pt>
                <c:pt idx="1766">
                  <c:v>372.9</c:v>
                </c:pt>
                <c:pt idx="1767">
                  <c:v>344.8</c:v>
                </c:pt>
                <c:pt idx="1768">
                  <c:v>353.6</c:v>
                </c:pt>
                <c:pt idx="1769">
                  <c:v>386.4</c:v>
                </c:pt>
                <c:pt idx="1770">
                  <c:v>384.7</c:v>
                </c:pt>
                <c:pt idx="1771">
                  <c:v>385.3</c:v>
                </c:pt>
                <c:pt idx="1772">
                  <c:v>383.5</c:v>
                </c:pt>
                <c:pt idx="1773">
                  <c:v>387.8</c:v>
                </c:pt>
                <c:pt idx="1774">
                  <c:v>384.4</c:v>
                </c:pt>
                <c:pt idx="1775">
                  <c:v>390</c:v>
                </c:pt>
                <c:pt idx="1776">
                  <c:v>427.9</c:v>
                </c:pt>
                <c:pt idx="1777">
                  <c:v>427.6</c:v>
                </c:pt>
                <c:pt idx="1778">
                  <c:v>427.3</c:v>
                </c:pt>
                <c:pt idx="1779">
                  <c:v>426</c:v>
                </c:pt>
                <c:pt idx="1780">
                  <c:v>460.9</c:v>
                </c:pt>
                <c:pt idx="1781">
                  <c:v>420</c:v>
                </c:pt>
                <c:pt idx="1782">
                  <c:v>421.1</c:v>
                </c:pt>
                <c:pt idx="1783">
                  <c:v>441.8</c:v>
                </c:pt>
                <c:pt idx="1784">
                  <c:v>403.7</c:v>
                </c:pt>
                <c:pt idx="1785">
                  <c:v>403.2</c:v>
                </c:pt>
                <c:pt idx="1786">
                  <c:v>368.7</c:v>
                </c:pt>
                <c:pt idx="1787">
                  <c:v>387.2</c:v>
                </c:pt>
                <c:pt idx="1788">
                  <c:v>374</c:v>
                </c:pt>
                <c:pt idx="1789">
                  <c:v>372.7</c:v>
                </c:pt>
                <c:pt idx="1790">
                  <c:v>380</c:v>
                </c:pt>
                <c:pt idx="1791">
                  <c:v>375.1</c:v>
                </c:pt>
                <c:pt idx="1792">
                  <c:v>380.8</c:v>
                </c:pt>
                <c:pt idx="1793">
                  <c:v>367.1</c:v>
                </c:pt>
                <c:pt idx="1794">
                  <c:v>360.4</c:v>
                </c:pt>
                <c:pt idx="1795">
                  <c:v>351.2</c:v>
                </c:pt>
                <c:pt idx="1796">
                  <c:v>351</c:v>
                </c:pt>
                <c:pt idx="1797">
                  <c:v>381.7</c:v>
                </c:pt>
                <c:pt idx="1798">
                  <c:v>393.3</c:v>
                </c:pt>
                <c:pt idx="1799">
                  <c:v>474.9</c:v>
                </c:pt>
                <c:pt idx="1800">
                  <c:v>431.5</c:v>
                </c:pt>
                <c:pt idx="1801">
                  <c:v>413.2</c:v>
                </c:pt>
                <c:pt idx="1802">
                  <c:v>398.2</c:v>
                </c:pt>
                <c:pt idx="1803">
                  <c:v>395.2</c:v>
                </c:pt>
                <c:pt idx="1804">
                  <c:v>438</c:v>
                </c:pt>
                <c:pt idx="1805">
                  <c:v>419.3</c:v>
                </c:pt>
                <c:pt idx="1806">
                  <c:v>442.4</c:v>
                </c:pt>
                <c:pt idx="1807">
                  <c:v>438.7</c:v>
                </c:pt>
                <c:pt idx="1808">
                  <c:v>402.4</c:v>
                </c:pt>
                <c:pt idx="1809">
                  <c:v>365.8</c:v>
                </c:pt>
                <c:pt idx="1810">
                  <c:v>370.4</c:v>
                </c:pt>
                <c:pt idx="1811">
                  <c:v>426.9</c:v>
                </c:pt>
                <c:pt idx="1812">
                  <c:v>434.6</c:v>
                </c:pt>
                <c:pt idx="1813">
                  <c:v>434.8</c:v>
                </c:pt>
                <c:pt idx="1814">
                  <c:v>418.7</c:v>
                </c:pt>
                <c:pt idx="1815">
                  <c:v>428.3</c:v>
                </c:pt>
                <c:pt idx="1816">
                  <c:v>355.5</c:v>
                </c:pt>
                <c:pt idx="1817">
                  <c:v>339.2</c:v>
                </c:pt>
                <c:pt idx="1818">
                  <c:v>393.2</c:v>
                </c:pt>
                <c:pt idx="1819">
                  <c:v>366.3</c:v>
                </c:pt>
                <c:pt idx="1820">
                  <c:v>381.7</c:v>
                </c:pt>
                <c:pt idx="1821">
                  <c:v>364.7</c:v>
                </c:pt>
                <c:pt idx="1822">
                  <c:v>363.6</c:v>
                </c:pt>
                <c:pt idx="1823">
                  <c:v>351.3</c:v>
                </c:pt>
                <c:pt idx="1824">
                  <c:v>365</c:v>
                </c:pt>
                <c:pt idx="1825">
                  <c:v>323.5</c:v>
                </c:pt>
                <c:pt idx="1826">
                  <c:v>316</c:v>
                </c:pt>
                <c:pt idx="1827">
                  <c:v>306.60000000000002</c:v>
                </c:pt>
                <c:pt idx="1828">
                  <c:v>304.5</c:v>
                </c:pt>
                <c:pt idx="1829">
                  <c:v>305.10000000000002</c:v>
                </c:pt>
                <c:pt idx="1830">
                  <c:v>280.39999999999998</c:v>
                </c:pt>
                <c:pt idx="1831">
                  <c:v>268.89999999999998</c:v>
                </c:pt>
                <c:pt idx="1832">
                  <c:v>312.89999999999998</c:v>
                </c:pt>
                <c:pt idx="1833">
                  <c:v>325.39999999999998</c:v>
                </c:pt>
                <c:pt idx="1834">
                  <c:v>316.39999999999998</c:v>
                </c:pt>
                <c:pt idx="1835">
                  <c:v>300</c:v>
                </c:pt>
                <c:pt idx="1836">
                  <c:v>296</c:v>
                </c:pt>
                <c:pt idx="1837">
                  <c:v>279.39999999999998</c:v>
                </c:pt>
                <c:pt idx="1838">
                  <c:v>283.8</c:v>
                </c:pt>
                <c:pt idx="1839">
                  <c:v>299.2</c:v>
                </c:pt>
                <c:pt idx="1840">
                  <c:v>287.89999999999998</c:v>
                </c:pt>
                <c:pt idx="1841">
                  <c:v>308.5</c:v>
                </c:pt>
                <c:pt idx="1842">
                  <c:v>313.5</c:v>
                </c:pt>
                <c:pt idx="1843">
                  <c:v>298</c:v>
                </c:pt>
                <c:pt idx="1844">
                  <c:v>272</c:v>
                </c:pt>
                <c:pt idx="1845">
                  <c:v>262.8</c:v>
                </c:pt>
                <c:pt idx="1846">
                  <c:v>318.8</c:v>
                </c:pt>
                <c:pt idx="1847">
                  <c:v>324.2</c:v>
                </c:pt>
                <c:pt idx="1848">
                  <c:v>337.5</c:v>
                </c:pt>
                <c:pt idx="1849">
                  <c:v>339.1</c:v>
                </c:pt>
                <c:pt idx="1850">
                  <c:v>374.7</c:v>
                </c:pt>
                <c:pt idx="1851">
                  <c:v>322.7</c:v>
                </c:pt>
                <c:pt idx="1852">
                  <c:v>315.8</c:v>
                </c:pt>
                <c:pt idx="1853">
                  <c:v>341.4</c:v>
                </c:pt>
                <c:pt idx="1854">
                  <c:v>341.4</c:v>
                </c:pt>
                <c:pt idx="1855">
                  <c:v>333.3</c:v>
                </c:pt>
                <c:pt idx="1856">
                  <c:v>349</c:v>
                </c:pt>
                <c:pt idx="1857">
                  <c:v>370.2</c:v>
                </c:pt>
                <c:pt idx="1858">
                  <c:v>338.1</c:v>
                </c:pt>
                <c:pt idx="1859">
                  <c:v>333.6</c:v>
                </c:pt>
                <c:pt idx="1860">
                  <c:v>358</c:v>
                </c:pt>
                <c:pt idx="1861">
                  <c:v>371.6</c:v>
                </c:pt>
                <c:pt idx="1862">
                  <c:v>345.3</c:v>
                </c:pt>
                <c:pt idx="1863">
                  <c:v>353.9</c:v>
                </c:pt>
                <c:pt idx="1864">
                  <c:v>342.2</c:v>
                </c:pt>
                <c:pt idx="1865">
                  <c:v>277.60000000000002</c:v>
                </c:pt>
                <c:pt idx="1866">
                  <c:v>266.89999999999998</c:v>
                </c:pt>
                <c:pt idx="1867">
                  <c:v>316.7</c:v>
                </c:pt>
                <c:pt idx="1868">
                  <c:v>322.3</c:v>
                </c:pt>
                <c:pt idx="1869">
                  <c:v>311.3</c:v>
                </c:pt>
                <c:pt idx="1870">
                  <c:v>334.1</c:v>
                </c:pt>
                <c:pt idx="1871">
                  <c:v>308</c:v>
                </c:pt>
                <c:pt idx="1872">
                  <c:v>241.9</c:v>
                </c:pt>
                <c:pt idx="1873">
                  <c:v>234.8</c:v>
                </c:pt>
                <c:pt idx="1874">
                  <c:v>284.5</c:v>
                </c:pt>
                <c:pt idx="1875">
                  <c:v>304.39999999999998</c:v>
                </c:pt>
                <c:pt idx="1876">
                  <c:v>299</c:v>
                </c:pt>
                <c:pt idx="1877">
                  <c:v>288.60000000000002</c:v>
                </c:pt>
                <c:pt idx="1878">
                  <c:v>285.3</c:v>
                </c:pt>
                <c:pt idx="1879">
                  <c:v>250</c:v>
                </c:pt>
                <c:pt idx="1880">
                  <c:v>266.5</c:v>
                </c:pt>
                <c:pt idx="1881">
                  <c:v>284.60000000000002</c:v>
                </c:pt>
                <c:pt idx="1882">
                  <c:v>308.10000000000002</c:v>
                </c:pt>
                <c:pt idx="1883">
                  <c:v>310.89999999999998</c:v>
                </c:pt>
                <c:pt idx="1884">
                  <c:v>282.60000000000002</c:v>
                </c:pt>
                <c:pt idx="1885">
                  <c:v>293.89999999999998</c:v>
                </c:pt>
                <c:pt idx="1886">
                  <c:v>282.2</c:v>
                </c:pt>
                <c:pt idx="1887">
                  <c:v>286.89999999999998</c:v>
                </c:pt>
                <c:pt idx="1888">
                  <c:v>311.60000000000002</c:v>
                </c:pt>
                <c:pt idx="1889">
                  <c:v>297.3</c:v>
                </c:pt>
                <c:pt idx="1890">
                  <c:v>317.5</c:v>
                </c:pt>
                <c:pt idx="1891">
                  <c:v>291</c:v>
                </c:pt>
                <c:pt idx="1892">
                  <c:v>330.2</c:v>
                </c:pt>
                <c:pt idx="1893">
                  <c:v>260.2</c:v>
                </c:pt>
                <c:pt idx="1894">
                  <c:v>263.2</c:v>
                </c:pt>
                <c:pt idx="1895">
                  <c:v>350.5</c:v>
                </c:pt>
                <c:pt idx="1896">
                  <c:v>372.1</c:v>
                </c:pt>
                <c:pt idx="1897">
                  <c:v>354.5</c:v>
                </c:pt>
                <c:pt idx="1898">
                  <c:v>337.3</c:v>
                </c:pt>
                <c:pt idx="1899">
                  <c:v>321</c:v>
                </c:pt>
                <c:pt idx="1900">
                  <c:v>288.39999999999998</c:v>
                </c:pt>
                <c:pt idx="1901">
                  <c:v>294.89999999999998</c:v>
                </c:pt>
                <c:pt idx="1902">
                  <c:v>353.7</c:v>
                </c:pt>
                <c:pt idx="1903">
                  <c:v>333.1</c:v>
                </c:pt>
                <c:pt idx="1904">
                  <c:v>325</c:v>
                </c:pt>
                <c:pt idx="1905">
                  <c:v>306.5</c:v>
                </c:pt>
                <c:pt idx="1906">
                  <c:v>302.5</c:v>
                </c:pt>
                <c:pt idx="1907">
                  <c:v>305.7</c:v>
                </c:pt>
                <c:pt idx="1908">
                  <c:v>325</c:v>
                </c:pt>
                <c:pt idx="1909">
                  <c:v>380</c:v>
                </c:pt>
                <c:pt idx="1910">
                  <c:v>370</c:v>
                </c:pt>
                <c:pt idx="1911">
                  <c:v>345</c:v>
                </c:pt>
                <c:pt idx="1912">
                  <c:v>363</c:v>
                </c:pt>
                <c:pt idx="1913">
                  <c:v>354</c:v>
                </c:pt>
                <c:pt idx="1914">
                  <c:v>351</c:v>
                </c:pt>
                <c:pt idx="1915">
                  <c:v>343</c:v>
                </c:pt>
                <c:pt idx="1916">
                  <c:v>364</c:v>
                </c:pt>
                <c:pt idx="1917">
                  <c:v>357</c:v>
                </c:pt>
                <c:pt idx="1918">
                  <c:v>358</c:v>
                </c:pt>
                <c:pt idx="1919">
                  <c:v>338</c:v>
                </c:pt>
                <c:pt idx="1920">
                  <c:v>351</c:v>
                </c:pt>
                <c:pt idx="1921">
                  <c:v>332</c:v>
                </c:pt>
                <c:pt idx="1922">
                  <c:v>329</c:v>
                </c:pt>
                <c:pt idx="1923">
                  <c:v>365</c:v>
                </c:pt>
                <c:pt idx="1924">
                  <c:v>399</c:v>
                </c:pt>
                <c:pt idx="1925">
                  <c:v>403</c:v>
                </c:pt>
                <c:pt idx="1926">
                  <c:v>415</c:v>
                </c:pt>
                <c:pt idx="1927">
                  <c:v>428</c:v>
                </c:pt>
                <c:pt idx="1928">
                  <c:v>421</c:v>
                </c:pt>
                <c:pt idx="1929">
                  <c:v>401</c:v>
                </c:pt>
                <c:pt idx="1930">
                  <c:v>393</c:v>
                </c:pt>
                <c:pt idx="1931">
                  <c:v>375</c:v>
                </c:pt>
                <c:pt idx="1932">
                  <c:v>362</c:v>
                </c:pt>
                <c:pt idx="1933">
                  <c:v>403</c:v>
                </c:pt>
                <c:pt idx="1934">
                  <c:v>421</c:v>
                </c:pt>
                <c:pt idx="1935">
                  <c:v>383</c:v>
                </c:pt>
                <c:pt idx="1936">
                  <c:v>388</c:v>
                </c:pt>
              </c:numCache>
            </c:numRef>
          </c:val>
          <c:smooth val="0"/>
          <c:extLst>
            <c:ext xmlns:c16="http://schemas.microsoft.com/office/drawing/2014/chart" uri="{C3380CC4-5D6E-409C-BE32-E72D297353CC}">
              <c16:uniqueId val="{00000001-9AE4-4EA2-8729-07CD33D1FEC6}"/>
            </c:ext>
          </c:extLst>
        </c:ser>
        <c:dLbls>
          <c:showLegendKey val="0"/>
          <c:showVal val="0"/>
          <c:showCatName val="0"/>
          <c:showSerName val="0"/>
          <c:showPercent val="0"/>
          <c:showBubbleSize val="0"/>
        </c:dLbls>
        <c:smooth val="0"/>
        <c:axId val="1325521920"/>
        <c:axId val="1325566208"/>
      </c:lineChart>
      <c:dateAx>
        <c:axId val="1325521920"/>
        <c:scaling>
          <c:orientation val="minMax"/>
        </c:scaling>
        <c:delete val="0"/>
        <c:axPos val="b"/>
        <c:numFmt formatCode="yyyy" sourceLinked="0"/>
        <c:majorTickMark val="out"/>
        <c:minorTickMark val="none"/>
        <c:tickLblPos val="low"/>
        <c:spPr>
          <a:ln w="3175">
            <a:solidFill>
              <a:srgbClr val="000000"/>
            </a:solidFill>
            <a:prstDash val="solid"/>
          </a:ln>
        </c:spPr>
        <c:txPr>
          <a:bodyPr rot="0" vert="horz"/>
          <a:lstStyle/>
          <a:p>
            <a:pPr>
              <a:defRPr/>
            </a:pPr>
            <a:endParaRPr lang="ru-RU"/>
          </a:p>
        </c:txPr>
        <c:crossAx val="1325566208"/>
        <c:crossesAt val="-50"/>
        <c:auto val="0"/>
        <c:lblOffset val="0"/>
        <c:baseTimeUnit val="days"/>
        <c:majorUnit val="12"/>
        <c:majorTimeUnit val="months"/>
        <c:minorUnit val="1"/>
      </c:dateAx>
      <c:valAx>
        <c:axId val="1325566208"/>
        <c:scaling>
          <c:orientation val="minMax"/>
        </c:scaling>
        <c:delete val="0"/>
        <c:axPos val="l"/>
        <c:majorGridlines>
          <c:spPr>
            <a:ln>
              <a:solidFill>
                <a:sysClr val="window" lastClr="FFFFFF">
                  <a:lumMod val="95000"/>
                </a:sysClr>
              </a:solidFill>
            </a:ln>
          </c:spPr>
        </c:majorGridlines>
        <c:title>
          <c:tx>
            <c:rich>
              <a:bodyPr rot="0" vert="horz"/>
              <a:lstStyle/>
              <a:p>
                <a:pPr>
                  <a:defRPr/>
                </a:pPr>
                <a:r>
                  <a:rPr lang="en-US"/>
                  <a:t>mcm/day</a:t>
                </a:r>
                <a:endParaRPr lang="ru-RU"/>
              </a:p>
            </c:rich>
          </c:tx>
          <c:layout>
            <c:manualLayout>
              <c:xMode val="edge"/>
              <c:yMode val="edge"/>
              <c:x val="7.6952083333333338E-2"/>
              <c:y val="2.4660555555555557E-2"/>
            </c:manualLayout>
          </c:layout>
          <c:overlay val="0"/>
          <c:spPr>
            <a:noFill/>
            <a:ln w="25400">
              <a:noFill/>
            </a:ln>
          </c:spPr>
        </c:title>
        <c:numFmt formatCode="General" sourceLinked="1"/>
        <c:majorTickMark val="out"/>
        <c:minorTickMark val="none"/>
        <c:tickLblPos val="nextTo"/>
        <c:spPr>
          <a:ln w="3175">
            <a:solidFill>
              <a:srgbClr val="000000"/>
            </a:solidFill>
            <a:prstDash val="solid"/>
          </a:ln>
        </c:spPr>
        <c:txPr>
          <a:bodyPr rot="0" vert="horz"/>
          <a:lstStyle/>
          <a:p>
            <a:pPr>
              <a:defRPr/>
            </a:pPr>
            <a:endParaRPr lang="ru-RU"/>
          </a:p>
        </c:txPr>
        <c:crossAx val="1325521920"/>
        <c:crosses val="autoZero"/>
        <c:crossBetween val="between"/>
        <c:majorUnit val="100"/>
      </c:valAx>
      <c:spPr>
        <a:noFill/>
        <a:ln w="25400">
          <a:noFill/>
        </a:ln>
      </c:spPr>
    </c:plotArea>
    <c:legend>
      <c:legendPos val="b"/>
      <c:layout>
        <c:manualLayout>
          <c:xMode val="edge"/>
          <c:yMode val="edge"/>
          <c:x val="0.32870313184868766"/>
          <c:y val="5.0456181977192482E-2"/>
          <c:w val="0.67129686815131229"/>
          <c:h val="0.15451368954391784"/>
        </c:manualLayout>
      </c:layout>
      <c:overlay val="0"/>
      <c:spPr>
        <a:noFill/>
        <a:ln w="25400">
          <a:noFill/>
        </a:ln>
      </c:spPr>
    </c:legend>
    <c:plotVisOnly val="1"/>
    <c:dispBlanksAs val="gap"/>
    <c:showDLblsOverMax val="0"/>
  </c:chart>
  <c:spPr>
    <a:solidFill>
      <a:sysClr val="window" lastClr="FFFFFF"/>
    </a:solidFill>
    <a:ln w="25400">
      <a:noFill/>
    </a:ln>
  </c:spPr>
  <c:txPr>
    <a:bodyPr/>
    <a:lstStyle/>
    <a:p>
      <a:pPr>
        <a:defRPr sz="1200" b="0" i="0" u="none" strike="noStrike" baseline="0">
          <a:solidFill>
            <a:srgbClr val="373737"/>
          </a:solidFill>
          <a:latin typeface="Arial Cyr"/>
          <a:ea typeface="Arial Cyr"/>
          <a:cs typeface="Arial Cyr"/>
        </a:defRPr>
      </a:pPr>
      <a:endParaRPr lang="ru-RU"/>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2670684682933155E-2"/>
          <c:y val="1.8195299145299146E-2"/>
          <c:w val="0.92930922523573445"/>
          <c:h val="0.93078525641025645"/>
        </c:manualLayout>
      </c:layout>
      <c:lineChart>
        <c:grouping val="standard"/>
        <c:varyColors val="0"/>
        <c:ser>
          <c:idx val="0"/>
          <c:order val="0"/>
          <c:tx>
            <c:strRef>
              <c:f>cpi!$B$3</c:f>
              <c:strCache>
                <c:ptCount val="1"/>
                <c:pt idx="0">
                  <c:v>US</c:v>
                </c:pt>
              </c:strCache>
            </c:strRef>
          </c:tx>
          <c:spPr>
            <a:ln w="25400">
              <a:solidFill>
                <a:srgbClr val="00447C"/>
              </a:solidFill>
              <a:prstDash val="solid"/>
            </a:ln>
          </c:spPr>
          <c:marker>
            <c:symbol val="none"/>
          </c:marker>
          <c:cat>
            <c:numRef>
              <c:f>cpi!$A$4:$A$289</c:f>
              <c:numCache>
                <c:formatCode>yyyy\-mm\-dd</c:formatCode>
                <c:ptCount val="286"/>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pt idx="199">
                  <c:v>42583</c:v>
                </c:pt>
                <c:pt idx="200">
                  <c:v>42614</c:v>
                </c:pt>
                <c:pt idx="201">
                  <c:v>42644</c:v>
                </c:pt>
                <c:pt idx="202">
                  <c:v>42675</c:v>
                </c:pt>
                <c:pt idx="203">
                  <c:v>42705</c:v>
                </c:pt>
                <c:pt idx="204">
                  <c:v>42736</c:v>
                </c:pt>
                <c:pt idx="205">
                  <c:v>42767</c:v>
                </c:pt>
                <c:pt idx="206">
                  <c:v>42795</c:v>
                </c:pt>
                <c:pt idx="207">
                  <c:v>42826</c:v>
                </c:pt>
                <c:pt idx="208">
                  <c:v>42856</c:v>
                </c:pt>
                <c:pt idx="209">
                  <c:v>42887</c:v>
                </c:pt>
                <c:pt idx="210">
                  <c:v>42917</c:v>
                </c:pt>
                <c:pt idx="211">
                  <c:v>42948</c:v>
                </c:pt>
                <c:pt idx="212">
                  <c:v>42979</c:v>
                </c:pt>
                <c:pt idx="213">
                  <c:v>43009</c:v>
                </c:pt>
                <c:pt idx="214">
                  <c:v>43040</c:v>
                </c:pt>
                <c:pt idx="215">
                  <c:v>43070</c:v>
                </c:pt>
                <c:pt idx="216">
                  <c:v>43101</c:v>
                </c:pt>
                <c:pt idx="217">
                  <c:v>43132</c:v>
                </c:pt>
                <c:pt idx="218">
                  <c:v>43160</c:v>
                </c:pt>
                <c:pt idx="219">
                  <c:v>43191</c:v>
                </c:pt>
                <c:pt idx="220">
                  <c:v>43221</c:v>
                </c:pt>
                <c:pt idx="221">
                  <c:v>43252</c:v>
                </c:pt>
                <c:pt idx="222">
                  <c:v>43282</c:v>
                </c:pt>
                <c:pt idx="223">
                  <c:v>43313</c:v>
                </c:pt>
                <c:pt idx="224">
                  <c:v>43344</c:v>
                </c:pt>
                <c:pt idx="225">
                  <c:v>43374</c:v>
                </c:pt>
                <c:pt idx="226">
                  <c:v>43405</c:v>
                </c:pt>
                <c:pt idx="227">
                  <c:v>43435</c:v>
                </c:pt>
                <c:pt idx="228">
                  <c:v>43466</c:v>
                </c:pt>
                <c:pt idx="229">
                  <c:v>43497</c:v>
                </c:pt>
                <c:pt idx="230">
                  <c:v>43525</c:v>
                </c:pt>
                <c:pt idx="231">
                  <c:v>43556</c:v>
                </c:pt>
                <c:pt idx="232">
                  <c:v>43586</c:v>
                </c:pt>
                <c:pt idx="233">
                  <c:v>43617</c:v>
                </c:pt>
                <c:pt idx="234">
                  <c:v>43647</c:v>
                </c:pt>
                <c:pt idx="235">
                  <c:v>43678</c:v>
                </c:pt>
                <c:pt idx="236">
                  <c:v>43709</c:v>
                </c:pt>
                <c:pt idx="237">
                  <c:v>43739</c:v>
                </c:pt>
                <c:pt idx="238">
                  <c:v>43770</c:v>
                </c:pt>
                <c:pt idx="239">
                  <c:v>43800</c:v>
                </c:pt>
                <c:pt idx="240">
                  <c:v>43831</c:v>
                </c:pt>
                <c:pt idx="241">
                  <c:v>43862</c:v>
                </c:pt>
                <c:pt idx="242">
                  <c:v>43891</c:v>
                </c:pt>
                <c:pt idx="243">
                  <c:v>43922</c:v>
                </c:pt>
                <c:pt idx="244">
                  <c:v>43952</c:v>
                </c:pt>
                <c:pt idx="245">
                  <c:v>43983</c:v>
                </c:pt>
                <c:pt idx="246">
                  <c:v>44013</c:v>
                </c:pt>
                <c:pt idx="247">
                  <c:v>44044</c:v>
                </c:pt>
                <c:pt idx="248">
                  <c:v>44075</c:v>
                </c:pt>
                <c:pt idx="249">
                  <c:v>44105</c:v>
                </c:pt>
                <c:pt idx="250">
                  <c:v>44136</c:v>
                </c:pt>
                <c:pt idx="251">
                  <c:v>44166</c:v>
                </c:pt>
                <c:pt idx="252">
                  <c:v>44197</c:v>
                </c:pt>
                <c:pt idx="253">
                  <c:v>44228</c:v>
                </c:pt>
                <c:pt idx="254">
                  <c:v>44256</c:v>
                </c:pt>
                <c:pt idx="255">
                  <c:v>44287</c:v>
                </c:pt>
                <c:pt idx="256">
                  <c:v>44317</c:v>
                </c:pt>
                <c:pt idx="257">
                  <c:v>44348</c:v>
                </c:pt>
                <c:pt idx="258">
                  <c:v>44378</c:v>
                </c:pt>
                <c:pt idx="259">
                  <c:v>44409</c:v>
                </c:pt>
                <c:pt idx="260">
                  <c:v>44440</c:v>
                </c:pt>
                <c:pt idx="261">
                  <c:v>44470</c:v>
                </c:pt>
                <c:pt idx="262">
                  <c:v>44501</c:v>
                </c:pt>
                <c:pt idx="263">
                  <c:v>44531</c:v>
                </c:pt>
                <c:pt idx="264">
                  <c:v>44562</c:v>
                </c:pt>
                <c:pt idx="265">
                  <c:v>44593</c:v>
                </c:pt>
                <c:pt idx="266">
                  <c:v>44621</c:v>
                </c:pt>
                <c:pt idx="267">
                  <c:v>44652</c:v>
                </c:pt>
                <c:pt idx="268">
                  <c:v>44682</c:v>
                </c:pt>
                <c:pt idx="269">
                  <c:v>44713</c:v>
                </c:pt>
                <c:pt idx="270">
                  <c:v>44743</c:v>
                </c:pt>
                <c:pt idx="271">
                  <c:v>44774</c:v>
                </c:pt>
                <c:pt idx="272">
                  <c:v>44805</c:v>
                </c:pt>
                <c:pt idx="273">
                  <c:v>44835</c:v>
                </c:pt>
                <c:pt idx="274">
                  <c:v>44866</c:v>
                </c:pt>
                <c:pt idx="275">
                  <c:v>44896</c:v>
                </c:pt>
                <c:pt idx="276">
                  <c:v>44927</c:v>
                </c:pt>
                <c:pt idx="277">
                  <c:v>44958</c:v>
                </c:pt>
                <c:pt idx="278">
                  <c:v>44986</c:v>
                </c:pt>
                <c:pt idx="279">
                  <c:v>45017</c:v>
                </c:pt>
                <c:pt idx="280">
                  <c:v>45047</c:v>
                </c:pt>
                <c:pt idx="281">
                  <c:v>45078</c:v>
                </c:pt>
                <c:pt idx="282">
                  <c:v>45108</c:v>
                </c:pt>
                <c:pt idx="283">
                  <c:v>45139</c:v>
                </c:pt>
                <c:pt idx="284">
                  <c:v>45170</c:v>
                </c:pt>
                <c:pt idx="285">
                  <c:v>45200</c:v>
                </c:pt>
              </c:numCache>
            </c:numRef>
          </c:cat>
          <c:val>
            <c:numRef>
              <c:f>cpi!$B$4:$B$289</c:f>
              <c:numCache>
                <c:formatCode>0.0</c:formatCode>
                <c:ptCount val="286"/>
                <c:pt idx="0">
                  <c:v>2.7929599999999999</c:v>
                </c:pt>
                <c:pt idx="1">
                  <c:v>3.2179700000000002</c:v>
                </c:pt>
                <c:pt idx="2">
                  <c:v>3.76214</c:v>
                </c:pt>
                <c:pt idx="3">
                  <c:v>3.0138600000000002</c:v>
                </c:pt>
                <c:pt idx="4">
                  <c:v>3.13253</c:v>
                </c:pt>
                <c:pt idx="5">
                  <c:v>3.7349399999999999</c:v>
                </c:pt>
                <c:pt idx="6">
                  <c:v>3.5992799999999998</c:v>
                </c:pt>
                <c:pt idx="7">
                  <c:v>3.3512900000000001</c:v>
                </c:pt>
                <c:pt idx="8">
                  <c:v>3.4565000000000001</c:v>
                </c:pt>
                <c:pt idx="9">
                  <c:v>3.4503300000000001</c:v>
                </c:pt>
                <c:pt idx="10">
                  <c:v>3.4441799999999998</c:v>
                </c:pt>
                <c:pt idx="11">
                  <c:v>3.4360200000000001</c:v>
                </c:pt>
                <c:pt idx="12">
                  <c:v>3.7212000000000001</c:v>
                </c:pt>
                <c:pt idx="13">
                  <c:v>3.5294099999999999</c:v>
                </c:pt>
                <c:pt idx="14">
                  <c:v>2.9824600000000001</c:v>
                </c:pt>
                <c:pt idx="15">
                  <c:v>3.2182599999999999</c:v>
                </c:pt>
                <c:pt idx="16">
                  <c:v>3.5630799999999998</c:v>
                </c:pt>
                <c:pt idx="17">
                  <c:v>3.1939600000000001</c:v>
                </c:pt>
                <c:pt idx="18">
                  <c:v>2.7214800000000001</c:v>
                </c:pt>
                <c:pt idx="19">
                  <c:v>2.7214800000000001</c:v>
                </c:pt>
                <c:pt idx="20">
                  <c:v>2.5921699999999999</c:v>
                </c:pt>
                <c:pt idx="21">
                  <c:v>2.1276600000000001</c:v>
                </c:pt>
                <c:pt idx="22">
                  <c:v>1.8943700000000001</c:v>
                </c:pt>
                <c:pt idx="23">
                  <c:v>1.6036699999999999</c:v>
                </c:pt>
                <c:pt idx="24">
                  <c:v>1.1959</c:v>
                </c:pt>
                <c:pt idx="25">
                  <c:v>1.13636</c:v>
                </c:pt>
                <c:pt idx="26">
                  <c:v>1.36286</c:v>
                </c:pt>
                <c:pt idx="27">
                  <c:v>1.6439900000000001</c:v>
                </c:pt>
                <c:pt idx="28">
                  <c:v>1.2408300000000001</c:v>
                </c:pt>
                <c:pt idx="29">
                  <c:v>1.0692200000000001</c:v>
                </c:pt>
                <c:pt idx="30">
                  <c:v>1.4656100000000001</c:v>
                </c:pt>
                <c:pt idx="31">
                  <c:v>1.74746</c:v>
                </c:pt>
                <c:pt idx="32">
                  <c:v>1.516</c:v>
                </c:pt>
                <c:pt idx="33">
                  <c:v>2.0270299999999999</c:v>
                </c:pt>
                <c:pt idx="34">
                  <c:v>2.25352</c:v>
                </c:pt>
                <c:pt idx="35">
                  <c:v>2.48027</c:v>
                </c:pt>
                <c:pt idx="36">
                  <c:v>2.75746</c:v>
                </c:pt>
                <c:pt idx="37">
                  <c:v>3.1460699999999999</c:v>
                </c:pt>
                <c:pt idx="38">
                  <c:v>3.02521</c:v>
                </c:pt>
                <c:pt idx="39">
                  <c:v>2.1751299999999998</c:v>
                </c:pt>
                <c:pt idx="40">
                  <c:v>1.89415</c:v>
                </c:pt>
                <c:pt idx="41">
                  <c:v>1.94878</c:v>
                </c:pt>
                <c:pt idx="42">
                  <c:v>2.0555599999999998</c:v>
                </c:pt>
                <c:pt idx="43">
                  <c:v>2.2160700000000002</c:v>
                </c:pt>
                <c:pt idx="44">
                  <c:v>2.37832</c:v>
                </c:pt>
                <c:pt idx="45">
                  <c:v>2.0419399999999999</c:v>
                </c:pt>
                <c:pt idx="46">
                  <c:v>1.9283699999999999</c:v>
                </c:pt>
                <c:pt idx="47">
                  <c:v>2.0352000000000001</c:v>
                </c:pt>
                <c:pt idx="48">
                  <c:v>2.0262899999999999</c:v>
                </c:pt>
                <c:pt idx="49">
                  <c:v>1.68845</c:v>
                </c:pt>
                <c:pt idx="50">
                  <c:v>1.7400800000000001</c:v>
                </c:pt>
                <c:pt idx="51">
                  <c:v>2.2925800000000001</c:v>
                </c:pt>
                <c:pt idx="52">
                  <c:v>2.8977599999999999</c:v>
                </c:pt>
                <c:pt idx="53">
                  <c:v>3.1676700000000002</c:v>
                </c:pt>
                <c:pt idx="54">
                  <c:v>2.9395799999999999</c:v>
                </c:pt>
                <c:pt idx="55">
                  <c:v>2.5474299999999999</c:v>
                </c:pt>
                <c:pt idx="56">
                  <c:v>2.5391699999999999</c:v>
                </c:pt>
                <c:pt idx="57">
                  <c:v>3.1909100000000001</c:v>
                </c:pt>
                <c:pt idx="58">
                  <c:v>3.6216200000000001</c:v>
                </c:pt>
                <c:pt idx="59">
                  <c:v>3.34232</c:v>
                </c:pt>
                <c:pt idx="60">
                  <c:v>2.8448699999999998</c:v>
                </c:pt>
                <c:pt idx="61">
                  <c:v>3.0530300000000001</c:v>
                </c:pt>
                <c:pt idx="62">
                  <c:v>3.2068400000000001</c:v>
                </c:pt>
                <c:pt idx="63">
                  <c:v>3.3617900000000001</c:v>
                </c:pt>
                <c:pt idx="64">
                  <c:v>2.8692899999999999</c:v>
                </c:pt>
                <c:pt idx="65">
                  <c:v>2.5410300000000001</c:v>
                </c:pt>
                <c:pt idx="66">
                  <c:v>3.0671599999999999</c:v>
                </c:pt>
                <c:pt idx="67">
                  <c:v>3.6469299999999998</c:v>
                </c:pt>
                <c:pt idx="68">
                  <c:v>4.7418300000000002</c:v>
                </c:pt>
                <c:pt idx="69">
                  <c:v>4.3501000000000003</c:v>
                </c:pt>
                <c:pt idx="70">
                  <c:v>3.3385500000000001</c:v>
                </c:pt>
                <c:pt idx="71">
                  <c:v>3.3385500000000001</c:v>
                </c:pt>
                <c:pt idx="72">
                  <c:v>4.0187900000000001</c:v>
                </c:pt>
                <c:pt idx="73">
                  <c:v>3.6382500000000002</c:v>
                </c:pt>
                <c:pt idx="74">
                  <c:v>3.4179200000000001</c:v>
                </c:pt>
                <c:pt idx="75">
                  <c:v>3.6138400000000002</c:v>
                </c:pt>
                <c:pt idx="76">
                  <c:v>3.9772699999999999</c:v>
                </c:pt>
                <c:pt idx="77">
                  <c:v>4.1817200000000003</c:v>
                </c:pt>
                <c:pt idx="78">
                  <c:v>4.1046699999999996</c:v>
                </c:pt>
                <c:pt idx="79">
                  <c:v>3.9265699999999999</c:v>
                </c:pt>
                <c:pt idx="80">
                  <c:v>2.01207</c:v>
                </c:pt>
                <c:pt idx="81">
                  <c:v>1.4063300000000001</c:v>
                </c:pt>
                <c:pt idx="82">
                  <c:v>1.9686999999999999</c:v>
                </c:pt>
                <c:pt idx="83">
                  <c:v>2.5239799999999999</c:v>
                </c:pt>
                <c:pt idx="84">
                  <c:v>2.0757699999999999</c:v>
                </c:pt>
                <c:pt idx="85">
                  <c:v>2.4202599999999999</c:v>
                </c:pt>
                <c:pt idx="86">
                  <c:v>2.7982</c:v>
                </c:pt>
                <c:pt idx="87">
                  <c:v>2.5929199999999999</c:v>
                </c:pt>
                <c:pt idx="88">
                  <c:v>2.7098900000000001</c:v>
                </c:pt>
                <c:pt idx="89">
                  <c:v>2.6927699999999999</c:v>
                </c:pt>
                <c:pt idx="90">
                  <c:v>2.3178899999999998</c:v>
                </c:pt>
                <c:pt idx="91">
                  <c:v>1.8974500000000001</c:v>
                </c:pt>
                <c:pt idx="92">
                  <c:v>2.8338299999999998</c:v>
                </c:pt>
                <c:pt idx="93">
                  <c:v>3.6107</c:v>
                </c:pt>
                <c:pt idx="94">
                  <c:v>4.3732699999999998</c:v>
                </c:pt>
                <c:pt idx="95">
                  <c:v>4.1088100000000001</c:v>
                </c:pt>
                <c:pt idx="96">
                  <c:v>4.2946999999999997</c:v>
                </c:pt>
                <c:pt idx="97">
                  <c:v>4.1429600000000004</c:v>
                </c:pt>
                <c:pt idx="98">
                  <c:v>3.9748999999999999</c:v>
                </c:pt>
                <c:pt idx="99">
                  <c:v>3.9037600000000001</c:v>
                </c:pt>
                <c:pt idx="100">
                  <c:v>4.0884099999999997</c:v>
                </c:pt>
                <c:pt idx="101">
                  <c:v>4.9359700000000002</c:v>
                </c:pt>
                <c:pt idx="102">
                  <c:v>5.4975100000000001</c:v>
                </c:pt>
                <c:pt idx="103">
                  <c:v>5.30802</c:v>
                </c:pt>
                <c:pt idx="104">
                  <c:v>4.9533199999999997</c:v>
                </c:pt>
                <c:pt idx="105">
                  <c:v>3.7310599999999998</c:v>
                </c:pt>
                <c:pt idx="106">
                  <c:v>1.09992</c:v>
                </c:pt>
                <c:pt idx="107">
                  <c:v>-2.223E-2</c:v>
                </c:pt>
                <c:pt idx="108">
                  <c:v>-0.11359</c:v>
                </c:pt>
                <c:pt idx="109">
                  <c:v>8.4600000000000005E-3</c:v>
                </c:pt>
                <c:pt idx="110">
                  <c:v>-0.44647999999999999</c:v>
                </c:pt>
                <c:pt idx="111">
                  <c:v>-0.57632000000000005</c:v>
                </c:pt>
                <c:pt idx="112">
                  <c:v>-1.01576</c:v>
                </c:pt>
                <c:pt idx="113">
                  <c:v>-1.2291700000000001</c:v>
                </c:pt>
                <c:pt idx="114">
                  <c:v>-1.9587600000000001</c:v>
                </c:pt>
                <c:pt idx="115">
                  <c:v>-1.48384</c:v>
                </c:pt>
                <c:pt idx="116">
                  <c:v>-1.3779399999999999</c:v>
                </c:pt>
                <c:pt idx="117">
                  <c:v>-0.22397</c:v>
                </c:pt>
                <c:pt idx="118">
                  <c:v>1.91459</c:v>
                </c:pt>
                <c:pt idx="119">
                  <c:v>2.81412</c:v>
                </c:pt>
                <c:pt idx="120">
                  <c:v>2.6211099999999998</c:v>
                </c:pt>
                <c:pt idx="121">
                  <c:v>2.1513399999999998</c:v>
                </c:pt>
                <c:pt idx="122">
                  <c:v>2.2861699999999998</c:v>
                </c:pt>
                <c:pt idx="123">
                  <c:v>2.2067700000000001</c:v>
                </c:pt>
                <c:pt idx="124">
                  <c:v>2.0035500000000002</c:v>
                </c:pt>
                <c:pt idx="125">
                  <c:v>1.1215599999999999</c:v>
                </c:pt>
                <c:pt idx="126">
                  <c:v>1.3407800000000001</c:v>
                </c:pt>
                <c:pt idx="127">
                  <c:v>1.15018</c:v>
                </c:pt>
                <c:pt idx="128">
                  <c:v>1.1183099999999999</c:v>
                </c:pt>
                <c:pt idx="129">
                  <c:v>1.1667000000000001</c:v>
                </c:pt>
                <c:pt idx="130">
                  <c:v>1.0845400000000001</c:v>
                </c:pt>
                <c:pt idx="131">
                  <c:v>1.4377899999999999</c:v>
                </c:pt>
                <c:pt idx="132">
                  <c:v>1.70078</c:v>
                </c:pt>
                <c:pt idx="133">
                  <c:v>2.1248999999999998</c:v>
                </c:pt>
                <c:pt idx="134">
                  <c:v>2.61924</c:v>
                </c:pt>
                <c:pt idx="135">
                  <c:v>3.0772300000000001</c:v>
                </c:pt>
                <c:pt idx="136">
                  <c:v>3.4589699999999999</c:v>
                </c:pt>
                <c:pt idx="137">
                  <c:v>3.5023200000000001</c:v>
                </c:pt>
                <c:pt idx="138">
                  <c:v>3.5798800000000002</c:v>
                </c:pt>
                <c:pt idx="139">
                  <c:v>3.7549999999999999</c:v>
                </c:pt>
                <c:pt idx="140">
                  <c:v>3.8126199999999999</c:v>
                </c:pt>
                <c:pt idx="141">
                  <c:v>3.5222699999999998</c:v>
                </c:pt>
                <c:pt idx="142">
                  <c:v>3.4514300000000002</c:v>
                </c:pt>
                <c:pt idx="143">
                  <c:v>3.0620699999999998</c:v>
                </c:pt>
                <c:pt idx="144">
                  <c:v>3.0087700000000002</c:v>
                </c:pt>
                <c:pt idx="145">
                  <c:v>2.89818</c:v>
                </c:pt>
                <c:pt idx="146">
                  <c:v>2.5828799999999998</c:v>
                </c:pt>
                <c:pt idx="147">
                  <c:v>2.2731599999999998</c:v>
                </c:pt>
                <c:pt idx="148">
                  <c:v>1.73794</c:v>
                </c:pt>
                <c:pt idx="149">
                  <c:v>1.65387</c:v>
                </c:pt>
                <c:pt idx="150">
                  <c:v>1.41751</c:v>
                </c:pt>
                <c:pt idx="151">
                  <c:v>1.6859299999999999</c:v>
                </c:pt>
                <c:pt idx="152">
                  <c:v>1.9497199999999999</c:v>
                </c:pt>
                <c:pt idx="153">
                  <c:v>2.1556799999999998</c:v>
                </c:pt>
                <c:pt idx="154">
                  <c:v>1.7960199999999999</c:v>
                </c:pt>
                <c:pt idx="155">
                  <c:v>1.7595000000000001</c:v>
                </c:pt>
                <c:pt idx="156">
                  <c:v>1.6840599999999999</c:v>
                </c:pt>
                <c:pt idx="157">
                  <c:v>2.0181399999999998</c:v>
                </c:pt>
                <c:pt idx="158">
                  <c:v>1.51875</c:v>
                </c:pt>
                <c:pt idx="159">
                  <c:v>1.1388100000000001</c:v>
                </c:pt>
                <c:pt idx="160">
                  <c:v>1.39039</c:v>
                </c:pt>
                <c:pt idx="161">
                  <c:v>1.7157899999999999</c:v>
                </c:pt>
                <c:pt idx="162">
                  <c:v>1.88547</c:v>
                </c:pt>
                <c:pt idx="163">
                  <c:v>1.53881</c:v>
                </c:pt>
                <c:pt idx="164">
                  <c:v>1.09473</c:v>
                </c:pt>
                <c:pt idx="165">
                  <c:v>0.87680000000000002</c:v>
                </c:pt>
                <c:pt idx="166">
                  <c:v>1.2328699999999999</c:v>
                </c:pt>
                <c:pt idx="167">
                  <c:v>1.51284</c:v>
                </c:pt>
                <c:pt idx="168">
                  <c:v>1.55776</c:v>
                </c:pt>
                <c:pt idx="169">
                  <c:v>1.1204700000000001</c:v>
                </c:pt>
                <c:pt idx="170">
                  <c:v>1.61269</c:v>
                </c:pt>
                <c:pt idx="171">
                  <c:v>2.0151300000000001</c:v>
                </c:pt>
                <c:pt idx="172">
                  <c:v>2.1669499999999999</c:v>
                </c:pt>
                <c:pt idx="173">
                  <c:v>2.05898</c:v>
                </c:pt>
                <c:pt idx="174">
                  <c:v>1.97424</c:v>
                </c:pt>
                <c:pt idx="175">
                  <c:v>1.7151000000000001</c:v>
                </c:pt>
                <c:pt idx="176">
                  <c:v>1.68405</c:v>
                </c:pt>
                <c:pt idx="177">
                  <c:v>1.60954</c:v>
                </c:pt>
                <c:pt idx="178">
                  <c:v>1.2315199999999999</c:v>
                </c:pt>
                <c:pt idx="179">
                  <c:v>0.65312000000000003</c:v>
                </c:pt>
                <c:pt idx="180">
                  <c:v>-0.22993</c:v>
                </c:pt>
                <c:pt idx="181">
                  <c:v>-8.7029999999999996E-2</c:v>
                </c:pt>
                <c:pt idx="182">
                  <c:v>-2.2030000000000001E-2</c:v>
                </c:pt>
                <c:pt idx="183">
                  <c:v>-0.10403</c:v>
                </c:pt>
                <c:pt idx="184">
                  <c:v>3.5029999999999999E-2</c:v>
                </c:pt>
                <c:pt idx="185">
                  <c:v>0.17957000000000001</c:v>
                </c:pt>
                <c:pt idx="186">
                  <c:v>0.22569</c:v>
                </c:pt>
                <c:pt idx="187">
                  <c:v>0.24129999999999999</c:v>
                </c:pt>
                <c:pt idx="188">
                  <c:v>8.8400000000000006E-3</c:v>
                </c:pt>
                <c:pt idx="189">
                  <c:v>0.12762000000000001</c:v>
                </c:pt>
                <c:pt idx="190">
                  <c:v>0.43631999999999999</c:v>
                </c:pt>
                <c:pt idx="191">
                  <c:v>0.63871999999999995</c:v>
                </c:pt>
                <c:pt idx="192">
                  <c:v>1.2375</c:v>
                </c:pt>
                <c:pt idx="193">
                  <c:v>0.84728000000000003</c:v>
                </c:pt>
                <c:pt idx="194">
                  <c:v>0.89161999999999997</c:v>
                </c:pt>
                <c:pt idx="195">
                  <c:v>1.1726300000000001</c:v>
                </c:pt>
                <c:pt idx="196">
                  <c:v>1.0784800000000001</c:v>
                </c:pt>
                <c:pt idx="197">
                  <c:v>1.0792900000000001</c:v>
                </c:pt>
                <c:pt idx="198">
                  <c:v>0.86836000000000002</c:v>
                </c:pt>
                <c:pt idx="199">
                  <c:v>1.05532</c:v>
                </c:pt>
                <c:pt idx="200">
                  <c:v>1.54864</c:v>
                </c:pt>
                <c:pt idx="201">
                  <c:v>1.6859200000000001</c:v>
                </c:pt>
                <c:pt idx="202">
                  <c:v>1.6843300000000001</c:v>
                </c:pt>
                <c:pt idx="203">
                  <c:v>2.0508000000000002</c:v>
                </c:pt>
                <c:pt idx="204">
                  <c:v>2.5103900000000001</c:v>
                </c:pt>
                <c:pt idx="205">
                  <c:v>2.8103600000000002</c:v>
                </c:pt>
                <c:pt idx="206">
                  <c:v>2.4411999999999998</c:v>
                </c:pt>
                <c:pt idx="207">
                  <c:v>2.1762199999999998</c:v>
                </c:pt>
                <c:pt idx="208">
                  <c:v>1.8563400000000001</c:v>
                </c:pt>
                <c:pt idx="209">
                  <c:v>1.6405700000000001</c:v>
                </c:pt>
                <c:pt idx="210">
                  <c:v>1.7251099999999999</c:v>
                </c:pt>
                <c:pt idx="211">
                  <c:v>1.9281200000000001</c:v>
                </c:pt>
                <c:pt idx="212">
                  <c:v>2.1805699999999999</c:v>
                </c:pt>
                <c:pt idx="213">
                  <c:v>2.0207600000000001</c:v>
                </c:pt>
                <c:pt idx="214">
                  <c:v>2.1724899999999998</c:v>
                </c:pt>
                <c:pt idx="215">
                  <c:v>2.1299299999999999</c:v>
                </c:pt>
                <c:pt idx="216">
                  <c:v>2.1513200000000001</c:v>
                </c:pt>
                <c:pt idx="217">
                  <c:v>2.2634699999999999</c:v>
                </c:pt>
                <c:pt idx="218">
                  <c:v>2.3309500000000001</c:v>
                </c:pt>
                <c:pt idx="219">
                  <c:v>2.4710000000000001</c:v>
                </c:pt>
                <c:pt idx="220">
                  <c:v>2.7819199999999999</c:v>
                </c:pt>
                <c:pt idx="221">
                  <c:v>2.80755</c:v>
                </c:pt>
                <c:pt idx="222">
                  <c:v>2.85412</c:v>
                </c:pt>
                <c:pt idx="223">
                  <c:v>2.6429200000000002</c:v>
                </c:pt>
                <c:pt idx="224">
                  <c:v>2.3320599999999998</c:v>
                </c:pt>
                <c:pt idx="225">
                  <c:v>2.4920300000000002</c:v>
                </c:pt>
                <c:pt idx="226">
                  <c:v>2.1473300000000002</c:v>
                </c:pt>
                <c:pt idx="227">
                  <c:v>2.00238</c:v>
                </c:pt>
                <c:pt idx="228">
                  <c:v>1.5506800000000001</c:v>
                </c:pt>
                <c:pt idx="229">
                  <c:v>1.52006</c:v>
                </c:pt>
                <c:pt idx="230">
                  <c:v>1.85314</c:v>
                </c:pt>
                <c:pt idx="231">
                  <c:v>1.9917899999999999</c:v>
                </c:pt>
                <c:pt idx="232">
                  <c:v>1.79352</c:v>
                </c:pt>
                <c:pt idx="233">
                  <c:v>1.64968</c:v>
                </c:pt>
                <c:pt idx="234">
                  <c:v>1.77976</c:v>
                </c:pt>
                <c:pt idx="235">
                  <c:v>1.74678</c:v>
                </c:pt>
                <c:pt idx="236">
                  <c:v>1.71662</c:v>
                </c:pt>
                <c:pt idx="237">
                  <c:v>1.76918</c:v>
                </c:pt>
                <c:pt idx="238">
                  <c:v>2.0621999999999998</c:v>
                </c:pt>
                <c:pt idx="239">
                  <c:v>2.31399</c:v>
                </c:pt>
                <c:pt idx="240">
                  <c:v>2.5004200000000001</c:v>
                </c:pt>
                <c:pt idx="241">
                  <c:v>2.3393199999999998</c:v>
                </c:pt>
                <c:pt idx="242">
                  <c:v>1.54287</c:v>
                </c:pt>
                <c:pt idx="243">
                  <c:v>0.34520000000000001</c:v>
                </c:pt>
                <c:pt idx="244">
                  <c:v>0.22641</c:v>
                </c:pt>
                <c:pt idx="245">
                  <c:v>0.71601999999999999</c:v>
                </c:pt>
                <c:pt idx="246">
                  <c:v>1.01414</c:v>
                </c:pt>
                <c:pt idx="247">
                  <c:v>1.30907</c:v>
                </c:pt>
                <c:pt idx="248">
                  <c:v>1.37148</c:v>
                </c:pt>
                <c:pt idx="249">
                  <c:v>1.1825300000000001</c:v>
                </c:pt>
                <c:pt idx="250">
                  <c:v>1.1675599999999999</c:v>
                </c:pt>
                <c:pt idx="251">
                  <c:v>1.3220400000000001</c:v>
                </c:pt>
                <c:pt idx="252">
                  <c:v>1.3947799999999999</c:v>
                </c:pt>
                <c:pt idx="253">
                  <c:v>1.69336</c:v>
                </c:pt>
                <c:pt idx="254">
                  <c:v>2.6305200000000002</c:v>
                </c:pt>
                <c:pt idx="255">
                  <c:v>4.1305500000000004</c:v>
                </c:pt>
                <c:pt idx="256">
                  <c:v>4.9150299999999998</c:v>
                </c:pt>
                <c:pt idx="257">
                  <c:v>5.2816099999999997</c:v>
                </c:pt>
                <c:pt idx="258">
                  <c:v>5.2215100000000003</c:v>
                </c:pt>
                <c:pt idx="259">
                  <c:v>5.1882900000000003</c:v>
                </c:pt>
                <c:pt idx="260">
                  <c:v>5.3836300000000001</c:v>
                </c:pt>
                <c:pt idx="261">
                  <c:v>6.2377500000000001</c:v>
                </c:pt>
                <c:pt idx="262">
                  <c:v>6.8623900000000004</c:v>
                </c:pt>
                <c:pt idx="263">
                  <c:v>7.1944600000000003</c:v>
                </c:pt>
                <c:pt idx="264">
                  <c:v>7.5952799999999998</c:v>
                </c:pt>
                <c:pt idx="265">
                  <c:v>7.9548500000000004</c:v>
                </c:pt>
                <c:pt idx="266">
                  <c:v>8.5152199999999993</c:v>
                </c:pt>
                <c:pt idx="267">
                  <c:v>8.2277699999999996</c:v>
                </c:pt>
                <c:pt idx="268">
                  <c:v>8.5023300000000006</c:v>
                </c:pt>
                <c:pt idx="269">
                  <c:v>8.9329900000000002</c:v>
                </c:pt>
                <c:pt idx="270">
                  <c:v>8.4131800000000005</c:v>
                </c:pt>
                <c:pt idx="271">
                  <c:v>8.2273599999999991</c:v>
                </c:pt>
                <c:pt idx="272">
                  <c:v>8.2148500000000002</c:v>
                </c:pt>
                <c:pt idx="273">
                  <c:v>7.7624899999999997</c:v>
                </c:pt>
                <c:pt idx="274">
                  <c:v>7.1353499999999999</c:v>
                </c:pt>
                <c:pt idx="275">
                  <c:v>6.4449399999999999</c:v>
                </c:pt>
                <c:pt idx="276">
                  <c:v>6.3471599999999997</c:v>
                </c:pt>
                <c:pt idx="277">
                  <c:v>5.98644</c:v>
                </c:pt>
                <c:pt idx="278">
                  <c:v>4.9869199999999996</c:v>
                </c:pt>
                <c:pt idx="279">
                  <c:v>4.9571899999999998</c:v>
                </c:pt>
                <c:pt idx="280">
                  <c:v>4.1288400000000003</c:v>
                </c:pt>
                <c:pt idx="281">
                  <c:v>3.0920000000000001</c:v>
                </c:pt>
                <c:pt idx="282">
                  <c:v>3.29908</c:v>
                </c:pt>
                <c:pt idx="283">
                  <c:v>3.7075</c:v>
                </c:pt>
                <c:pt idx="284">
                  <c:v>3.6899000000000002</c:v>
                </c:pt>
                <c:pt idx="285">
                  <c:v>3.2323599999999999</c:v>
                </c:pt>
              </c:numCache>
            </c:numRef>
          </c:val>
          <c:smooth val="0"/>
          <c:extLst>
            <c:ext xmlns:c16="http://schemas.microsoft.com/office/drawing/2014/chart" uri="{C3380CC4-5D6E-409C-BE32-E72D297353CC}">
              <c16:uniqueId val="{00000000-4A31-4CFF-9A4E-0E4D1E98C7F1}"/>
            </c:ext>
          </c:extLst>
        </c:ser>
        <c:ser>
          <c:idx val="1"/>
          <c:order val="1"/>
          <c:tx>
            <c:strRef>
              <c:f>cpi!$C$3</c:f>
              <c:strCache>
                <c:ptCount val="1"/>
                <c:pt idx="0">
                  <c:v>Eurozone</c:v>
                </c:pt>
              </c:strCache>
            </c:strRef>
          </c:tx>
          <c:spPr>
            <a:ln w="25400">
              <a:solidFill>
                <a:srgbClr val="539FDE"/>
              </a:solidFill>
              <a:prstDash val="solid"/>
            </a:ln>
          </c:spPr>
          <c:marker>
            <c:symbol val="none"/>
          </c:marker>
          <c:cat>
            <c:numRef>
              <c:f>cpi!$A$4:$A$289</c:f>
              <c:numCache>
                <c:formatCode>yyyy\-mm\-dd</c:formatCode>
                <c:ptCount val="286"/>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pt idx="199">
                  <c:v>42583</c:v>
                </c:pt>
                <c:pt idx="200">
                  <c:v>42614</c:v>
                </c:pt>
                <c:pt idx="201">
                  <c:v>42644</c:v>
                </c:pt>
                <c:pt idx="202">
                  <c:v>42675</c:v>
                </c:pt>
                <c:pt idx="203">
                  <c:v>42705</c:v>
                </c:pt>
                <c:pt idx="204">
                  <c:v>42736</c:v>
                </c:pt>
                <c:pt idx="205">
                  <c:v>42767</c:v>
                </c:pt>
                <c:pt idx="206">
                  <c:v>42795</c:v>
                </c:pt>
                <c:pt idx="207">
                  <c:v>42826</c:v>
                </c:pt>
                <c:pt idx="208">
                  <c:v>42856</c:v>
                </c:pt>
                <c:pt idx="209">
                  <c:v>42887</c:v>
                </c:pt>
                <c:pt idx="210">
                  <c:v>42917</c:v>
                </c:pt>
                <c:pt idx="211">
                  <c:v>42948</c:v>
                </c:pt>
                <c:pt idx="212">
                  <c:v>42979</c:v>
                </c:pt>
                <c:pt idx="213">
                  <c:v>43009</c:v>
                </c:pt>
                <c:pt idx="214">
                  <c:v>43040</c:v>
                </c:pt>
                <c:pt idx="215">
                  <c:v>43070</c:v>
                </c:pt>
                <c:pt idx="216">
                  <c:v>43101</c:v>
                </c:pt>
                <c:pt idx="217">
                  <c:v>43132</c:v>
                </c:pt>
                <c:pt idx="218">
                  <c:v>43160</c:v>
                </c:pt>
                <c:pt idx="219">
                  <c:v>43191</c:v>
                </c:pt>
                <c:pt idx="220">
                  <c:v>43221</c:v>
                </c:pt>
                <c:pt idx="221">
                  <c:v>43252</c:v>
                </c:pt>
                <c:pt idx="222">
                  <c:v>43282</c:v>
                </c:pt>
                <c:pt idx="223">
                  <c:v>43313</c:v>
                </c:pt>
                <c:pt idx="224">
                  <c:v>43344</c:v>
                </c:pt>
                <c:pt idx="225">
                  <c:v>43374</c:v>
                </c:pt>
                <c:pt idx="226">
                  <c:v>43405</c:v>
                </c:pt>
                <c:pt idx="227">
                  <c:v>43435</c:v>
                </c:pt>
                <c:pt idx="228">
                  <c:v>43466</c:v>
                </c:pt>
                <c:pt idx="229">
                  <c:v>43497</c:v>
                </c:pt>
                <c:pt idx="230">
                  <c:v>43525</c:v>
                </c:pt>
                <c:pt idx="231">
                  <c:v>43556</c:v>
                </c:pt>
                <c:pt idx="232">
                  <c:v>43586</c:v>
                </c:pt>
                <c:pt idx="233">
                  <c:v>43617</c:v>
                </c:pt>
                <c:pt idx="234">
                  <c:v>43647</c:v>
                </c:pt>
                <c:pt idx="235">
                  <c:v>43678</c:v>
                </c:pt>
                <c:pt idx="236">
                  <c:v>43709</c:v>
                </c:pt>
                <c:pt idx="237">
                  <c:v>43739</c:v>
                </c:pt>
                <c:pt idx="238">
                  <c:v>43770</c:v>
                </c:pt>
                <c:pt idx="239">
                  <c:v>43800</c:v>
                </c:pt>
                <c:pt idx="240">
                  <c:v>43831</c:v>
                </c:pt>
                <c:pt idx="241">
                  <c:v>43862</c:v>
                </c:pt>
                <c:pt idx="242">
                  <c:v>43891</c:v>
                </c:pt>
                <c:pt idx="243">
                  <c:v>43922</c:v>
                </c:pt>
                <c:pt idx="244">
                  <c:v>43952</c:v>
                </c:pt>
                <c:pt idx="245">
                  <c:v>43983</c:v>
                </c:pt>
                <c:pt idx="246">
                  <c:v>44013</c:v>
                </c:pt>
                <c:pt idx="247">
                  <c:v>44044</c:v>
                </c:pt>
                <c:pt idx="248">
                  <c:v>44075</c:v>
                </c:pt>
                <c:pt idx="249">
                  <c:v>44105</c:v>
                </c:pt>
                <c:pt idx="250">
                  <c:v>44136</c:v>
                </c:pt>
                <c:pt idx="251">
                  <c:v>44166</c:v>
                </c:pt>
                <c:pt idx="252">
                  <c:v>44197</c:v>
                </c:pt>
                <c:pt idx="253">
                  <c:v>44228</c:v>
                </c:pt>
                <c:pt idx="254">
                  <c:v>44256</c:v>
                </c:pt>
                <c:pt idx="255">
                  <c:v>44287</c:v>
                </c:pt>
                <c:pt idx="256">
                  <c:v>44317</c:v>
                </c:pt>
                <c:pt idx="257">
                  <c:v>44348</c:v>
                </c:pt>
                <c:pt idx="258">
                  <c:v>44378</c:v>
                </c:pt>
                <c:pt idx="259">
                  <c:v>44409</c:v>
                </c:pt>
                <c:pt idx="260">
                  <c:v>44440</c:v>
                </c:pt>
                <c:pt idx="261">
                  <c:v>44470</c:v>
                </c:pt>
                <c:pt idx="262">
                  <c:v>44501</c:v>
                </c:pt>
                <c:pt idx="263">
                  <c:v>44531</c:v>
                </c:pt>
                <c:pt idx="264">
                  <c:v>44562</c:v>
                </c:pt>
                <c:pt idx="265">
                  <c:v>44593</c:v>
                </c:pt>
                <c:pt idx="266">
                  <c:v>44621</c:v>
                </c:pt>
                <c:pt idx="267">
                  <c:v>44652</c:v>
                </c:pt>
                <c:pt idx="268">
                  <c:v>44682</c:v>
                </c:pt>
                <c:pt idx="269">
                  <c:v>44713</c:v>
                </c:pt>
                <c:pt idx="270">
                  <c:v>44743</c:v>
                </c:pt>
                <c:pt idx="271">
                  <c:v>44774</c:v>
                </c:pt>
                <c:pt idx="272">
                  <c:v>44805</c:v>
                </c:pt>
                <c:pt idx="273">
                  <c:v>44835</c:v>
                </c:pt>
                <c:pt idx="274">
                  <c:v>44866</c:v>
                </c:pt>
                <c:pt idx="275">
                  <c:v>44896</c:v>
                </c:pt>
                <c:pt idx="276">
                  <c:v>44927</c:v>
                </c:pt>
                <c:pt idx="277">
                  <c:v>44958</c:v>
                </c:pt>
                <c:pt idx="278">
                  <c:v>44986</c:v>
                </c:pt>
                <c:pt idx="279">
                  <c:v>45017</c:v>
                </c:pt>
                <c:pt idx="280">
                  <c:v>45047</c:v>
                </c:pt>
                <c:pt idx="281">
                  <c:v>45078</c:v>
                </c:pt>
                <c:pt idx="282">
                  <c:v>45108</c:v>
                </c:pt>
                <c:pt idx="283">
                  <c:v>45139</c:v>
                </c:pt>
                <c:pt idx="284">
                  <c:v>45170</c:v>
                </c:pt>
                <c:pt idx="285">
                  <c:v>45200</c:v>
                </c:pt>
              </c:numCache>
            </c:numRef>
          </c:cat>
          <c:val>
            <c:numRef>
              <c:f>cpi!$C$4:$C$289</c:f>
              <c:numCache>
                <c:formatCode>0.0</c:formatCode>
                <c:ptCount val="286"/>
                <c:pt idx="0">
                  <c:v>1.9335500000000001</c:v>
                </c:pt>
                <c:pt idx="1">
                  <c:v>2.0241799999999999</c:v>
                </c:pt>
                <c:pt idx="2">
                  <c:v>2.05823</c:v>
                </c:pt>
                <c:pt idx="3">
                  <c:v>1.8081199999999999</c:v>
                </c:pt>
                <c:pt idx="4">
                  <c:v>1.86084</c:v>
                </c:pt>
                <c:pt idx="5">
                  <c:v>2.21143</c:v>
                </c:pt>
                <c:pt idx="6">
                  <c:v>2.1680600000000001</c:v>
                </c:pt>
                <c:pt idx="7">
                  <c:v>2.1250800000000001</c:v>
                </c:pt>
                <c:pt idx="8">
                  <c:v>2.4586899999999998</c:v>
                </c:pt>
                <c:pt idx="9">
                  <c:v>2.4573700000000001</c:v>
                </c:pt>
                <c:pt idx="10">
                  <c:v>2.5345300000000002</c:v>
                </c:pt>
                <c:pt idx="11">
                  <c:v>2.56582</c:v>
                </c:pt>
                <c:pt idx="12">
                  <c:v>2.0972499999999998</c:v>
                </c:pt>
                <c:pt idx="13">
                  <c:v>2.0772300000000001</c:v>
                </c:pt>
                <c:pt idx="14">
                  <c:v>2.2555399999999999</c:v>
                </c:pt>
                <c:pt idx="15">
                  <c:v>2.7700499999999999</c:v>
                </c:pt>
                <c:pt idx="16">
                  <c:v>3.1241699999999999</c:v>
                </c:pt>
                <c:pt idx="17">
                  <c:v>2.92876</c:v>
                </c:pt>
                <c:pt idx="18">
                  <c:v>2.5965500000000001</c:v>
                </c:pt>
                <c:pt idx="19">
                  <c:v>2.4364499999999998</c:v>
                </c:pt>
                <c:pt idx="20">
                  <c:v>2.2685499999999998</c:v>
                </c:pt>
                <c:pt idx="21">
                  <c:v>2.3066800000000001</c:v>
                </c:pt>
                <c:pt idx="22">
                  <c:v>2.0272000000000001</c:v>
                </c:pt>
                <c:pt idx="23">
                  <c:v>2.0977199999999998</c:v>
                </c:pt>
                <c:pt idx="24">
                  <c:v>2.6429399999999998</c:v>
                </c:pt>
                <c:pt idx="25">
                  <c:v>2.5045700000000002</c:v>
                </c:pt>
                <c:pt idx="26">
                  <c:v>2.53017</c:v>
                </c:pt>
                <c:pt idx="27">
                  <c:v>2.37297</c:v>
                </c:pt>
                <c:pt idx="28">
                  <c:v>2.07959</c:v>
                </c:pt>
                <c:pt idx="29">
                  <c:v>1.8841300000000001</c:v>
                </c:pt>
                <c:pt idx="30">
                  <c:v>2.0169600000000001</c:v>
                </c:pt>
                <c:pt idx="31">
                  <c:v>2.1599400000000002</c:v>
                </c:pt>
                <c:pt idx="32">
                  <c:v>2.1413000000000002</c:v>
                </c:pt>
                <c:pt idx="33">
                  <c:v>2.29311</c:v>
                </c:pt>
                <c:pt idx="34">
                  <c:v>2.2817599999999998</c:v>
                </c:pt>
                <c:pt idx="35">
                  <c:v>2.30985</c:v>
                </c:pt>
                <c:pt idx="36">
                  <c:v>2.1542400000000002</c:v>
                </c:pt>
                <c:pt idx="37">
                  <c:v>2.3924699999999999</c:v>
                </c:pt>
                <c:pt idx="38">
                  <c:v>2.4171100000000001</c:v>
                </c:pt>
                <c:pt idx="39">
                  <c:v>2.1038000000000001</c:v>
                </c:pt>
                <c:pt idx="40">
                  <c:v>1.86117</c:v>
                </c:pt>
                <c:pt idx="41">
                  <c:v>2.0254099999999999</c:v>
                </c:pt>
                <c:pt idx="42">
                  <c:v>1.9770799999999999</c:v>
                </c:pt>
                <c:pt idx="43">
                  <c:v>2.06393</c:v>
                </c:pt>
                <c:pt idx="44">
                  <c:v>2.1717300000000002</c:v>
                </c:pt>
                <c:pt idx="45">
                  <c:v>2.0789</c:v>
                </c:pt>
                <c:pt idx="46">
                  <c:v>2.19326</c:v>
                </c:pt>
                <c:pt idx="47">
                  <c:v>2.0207099999999998</c:v>
                </c:pt>
                <c:pt idx="48">
                  <c:v>1.83429</c:v>
                </c:pt>
                <c:pt idx="49">
                  <c:v>1.6654199999999999</c:v>
                </c:pt>
                <c:pt idx="50">
                  <c:v>1.71753</c:v>
                </c:pt>
                <c:pt idx="51">
                  <c:v>2.0851299999999999</c:v>
                </c:pt>
                <c:pt idx="52">
                  <c:v>2.4814799999999999</c:v>
                </c:pt>
                <c:pt idx="53">
                  <c:v>2.4044400000000001</c:v>
                </c:pt>
                <c:pt idx="54">
                  <c:v>2.34626</c:v>
                </c:pt>
                <c:pt idx="55">
                  <c:v>2.3921100000000002</c:v>
                </c:pt>
                <c:pt idx="56">
                  <c:v>2.1501399999999999</c:v>
                </c:pt>
                <c:pt idx="57">
                  <c:v>2.3923399999999999</c:v>
                </c:pt>
                <c:pt idx="58">
                  <c:v>2.2810899999999998</c:v>
                </c:pt>
                <c:pt idx="59">
                  <c:v>2.3597000000000001</c:v>
                </c:pt>
                <c:pt idx="60">
                  <c:v>1.9482900000000001</c:v>
                </c:pt>
                <c:pt idx="61">
                  <c:v>2.0782400000000001</c:v>
                </c:pt>
                <c:pt idx="62">
                  <c:v>2.1865899999999998</c:v>
                </c:pt>
                <c:pt idx="63">
                  <c:v>2.0908899999999999</c:v>
                </c:pt>
                <c:pt idx="64">
                  <c:v>1.9877100000000001</c:v>
                </c:pt>
                <c:pt idx="65">
                  <c:v>2.0469599999999999</c:v>
                </c:pt>
                <c:pt idx="66">
                  <c:v>2.1476799999999998</c:v>
                </c:pt>
                <c:pt idx="67">
                  <c:v>2.19171</c:v>
                </c:pt>
                <c:pt idx="68">
                  <c:v>2.5980300000000001</c:v>
                </c:pt>
                <c:pt idx="69">
                  <c:v>2.4682499999999998</c:v>
                </c:pt>
                <c:pt idx="70">
                  <c:v>2.3141500000000002</c:v>
                </c:pt>
                <c:pt idx="71">
                  <c:v>2.2694700000000001</c:v>
                </c:pt>
                <c:pt idx="72">
                  <c:v>2.4519199999999999</c:v>
                </c:pt>
                <c:pt idx="73">
                  <c:v>2.3712599999999999</c:v>
                </c:pt>
                <c:pt idx="74">
                  <c:v>2.2111299999999998</c:v>
                </c:pt>
                <c:pt idx="75">
                  <c:v>2.4624100000000002</c:v>
                </c:pt>
                <c:pt idx="76">
                  <c:v>2.5159500000000001</c:v>
                </c:pt>
                <c:pt idx="77">
                  <c:v>2.4778799999999999</c:v>
                </c:pt>
                <c:pt idx="78">
                  <c:v>2.4687000000000001</c:v>
                </c:pt>
                <c:pt idx="79">
                  <c:v>2.3214700000000001</c:v>
                </c:pt>
                <c:pt idx="80">
                  <c:v>1.7936700000000001</c:v>
                </c:pt>
                <c:pt idx="81">
                  <c:v>1.6136600000000001</c:v>
                </c:pt>
                <c:pt idx="82">
                  <c:v>1.88679</c:v>
                </c:pt>
                <c:pt idx="83">
                  <c:v>1.9271199999999999</c:v>
                </c:pt>
                <c:pt idx="84">
                  <c:v>1.8653200000000001</c:v>
                </c:pt>
                <c:pt idx="85">
                  <c:v>1.87178</c:v>
                </c:pt>
                <c:pt idx="86">
                  <c:v>1.95394</c:v>
                </c:pt>
                <c:pt idx="87">
                  <c:v>1.9295199999999999</c:v>
                </c:pt>
                <c:pt idx="88">
                  <c:v>1.8896200000000001</c:v>
                </c:pt>
                <c:pt idx="89">
                  <c:v>1.92286</c:v>
                </c:pt>
                <c:pt idx="90">
                  <c:v>1.79827</c:v>
                </c:pt>
                <c:pt idx="91">
                  <c:v>1.7735799999999999</c:v>
                </c:pt>
                <c:pt idx="92">
                  <c:v>2.1651500000000001</c:v>
                </c:pt>
                <c:pt idx="93">
                  <c:v>2.5891799999999998</c:v>
                </c:pt>
                <c:pt idx="94">
                  <c:v>3.09409</c:v>
                </c:pt>
                <c:pt idx="95">
                  <c:v>3.1053099999999998</c:v>
                </c:pt>
                <c:pt idx="96">
                  <c:v>3.2707600000000001</c:v>
                </c:pt>
                <c:pt idx="97">
                  <c:v>3.3302700000000001</c:v>
                </c:pt>
                <c:pt idx="98">
                  <c:v>3.66188</c:v>
                </c:pt>
                <c:pt idx="99">
                  <c:v>3.3439100000000002</c:v>
                </c:pt>
                <c:pt idx="100">
                  <c:v>3.7430699999999999</c:v>
                </c:pt>
                <c:pt idx="101">
                  <c:v>4.0329899999999999</c:v>
                </c:pt>
                <c:pt idx="102">
                  <c:v>4.1218399999999997</c:v>
                </c:pt>
                <c:pt idx="103">
                  <c:v>3.9040400000000002</c:v>
                </c:pt>
                <c:pt idx="104">
                  <c:v>3.70871</c:v>
                </c:pt>
                <c:pt idx="105">
                  <c:v>3.2305100000000002</c:v>
                </c:pt>
                <c:pt idx="106">
                  <c:v>2.1867700000000001</c:v>
                </c:pt>
                <c:pt idx="107">
                  <c:v>1.6559200000000001</c:v>
                </c:pt>
                <c:pt idx="108">
                  <c:v>1.18211</c:v>
                </c:pt>
                <c:pt idx="109">
                  <c:v>1.24472</c:v>
                </c:pt>
                <c:pt idx="110">
                  <c:v>0.62726999999999999</c:v>
                </c:pt>
                <c:pt idx="111">
                  <c:v>0.64714000000000005</c:v>
                </c:pt>
                <c:pt idx="112">
                  <c:v>6.54E-2</c:v>
                </c:pt>
                <c:pt idx="113">
                  <c:v>-0.10859000000000001</c:v>
                </c:pt>
                <c:pt idx="114">
                  <c:v>-0.61990000000000001</c:v>
                </c:pt>
                <c:pt idx="115">
                  <c:v>-0.14158000000000001</c:v>
                </c:pt>
                <c:pt idx="116">
                  <c:v>-0.31522</c:v>
                </c:pt>
                <c:pt idx="117">
                  <c:v>-0.11953</c:v>
                </c:pt>
                <c:pt idx="118">
                  <c:v>0.46948000000000001</c:v>
                </c:pt>
                <c:pt idx="119">
                  <c:v>0.91832999999999998</c:v>
                </c:pt>
                <c:pt idx="120">
                  <c:v>0.91479999999999995</c:v>
                </c:pt>
                <c:pt idx="121">
                  <c:v>0.82326999999999995</c:v>
                </c:pt>
                <c:pt idx="122">
                  <c:v>1.5529299999999999</c:v>
                </c:pt>
                <c:pt idx="123">
                  <c:v>1.6129</c:v>
                </c:pt>
                <c:pt idx="124">
                  <c:v>1.68845</c:v>
                </c:pt>
                <c:pt idx="125">
                  <c:v>1.4784200000000001</c:v>
                </c:pt>
                <c:pt idx="126">
                  <c:v>1.7181</c:v>
                </c:pt>
                <c:pt idx="127">
                  <c:v>1.5705100000000001</c:v>
                </c:pt>
                <c:pt idx="128">
                  <c:v>1.8645700000000001</c:v>
                </c:pt>
                <c:pt idx="129">
                  <c:v>1.9473499999999999</c:v>
                </c:pt>
                <c:pt idx="130">
                  <c:v>1.9234899999999999</c:v>
                </c:pt>
                <c:pt idx="131">
                  <c:v>2.22078</c:v>
                </c:pt>
                <c:pt idx="132">
                  <c:v>2.3263400000000001</c:v>
                </c:pt>
                <c:pt idx="133">
                  <c:v>2.42787</c:v>
                </c:pt>
                <c:pt idx="134">
                  <c:v>2.68146</c:v>
                </c:pt>
                <c:pt idx="135">
                  <c:v>2.84213</c:v>
                </c:pt>
                <c:pt idx="136">
                  <c:v>2.7316600000000002</c:v>
                </c:pt>
                <c:pt idx="137">
                  <c:v>2.7209400000000001</c:v>
                </c:pt>
                <c:pt idx="138">
                  <c:v>2.5712700000000002</c:v>
                </c:pt>
                <c:pt idx="139">
                  <c:v>2.5663100000000001</c:v>
                </c:pt>
                <c:pt idx="140">
                  <c:v>2.99722</c:v>
                </c:pt>
                <c:pt idx="141">
                  <c:v>3.0306299999999999</c:v>
                </c:pt>
                <c:pt idx="142">
                  <c:v>3.0387</c:v>
                </c:pt>
                <c:pt idx="143">
                  <c:v>2.7553999999999998</c:v>
                </c:pt>
                <c:pt idx="144">
                  <c:v>2.6577000000000002</c:v>
                </c:pt>
                <c:pt idx="145">
                  <c:v>2.7423500000000001</c:v>
                </c:pt>
                <c:pt idx="146">
                  <c:v>2.68485</c:v>
                </c:pt>
                <c:pt idx="147">
                  <c:v>2.5758700000000001</c:v>
                </c:pt>
                <c:pt idx="148">
                  <c:v>2.4296099999999998</c:v>
                </c:pt>
                <c:pt idx="149">
                  <c:v>2.3568699999999998</c:v>
                </c:pt>
                <c:pt idx="150">
                  <c:v>2.41242</c:v>
                </c:pt>
                <c:pt idx="151">
                  <c:v>2.6172499999999999</c:v>
                </c:pt>
                <c:pt idx="152">
                  <c:v>2.6086100000000001</c:v>
                </c:pt>
                <c:pt idx="153">
                  <c:v>2.4961199999999999</c:v>
                </c:pt>
                <c:pt idx="154">
                  <c:v>2.1937099999999998</c:v>
                </c:pt>
                <c:pt idx="155">
                  <c:v>2.2174100000000001</c:v>
                </c:pt>
                <c:pt idx="156">
                  <c:v>1.98586</c:v>
                </c:pt>
                <c:pt idx="157">
                  <c:v>1.85185</c:v>
                </c:pt>
                <c:pt idx="158">
                  <c:v>1.7362899999999999</c:v>
                </c:pt>
                <c:pt idx="159">
                  <c:v>1.1793400000000001</c:v>
                </c:pt>
                <c:pt idx="160">
                  <c:v>1.42523</c:v>
                </c:pt>
                <c:pt idx="161">
                  <c:v>1.60978</c:v>
                </c:pt>
                <c:pt idx="162">
                  <c:v>1.59771</c:v>
                </c:pt>
                <c:pt idx="163">
                  <c:v>1.32626</c:v>
                </c:pt>
                <c:pt idx="164">
                  <c:v>1.0837600000000001</c:v>
                </c:pt>
                <c:pt idx="165">
                  <c:v>0.72757000000000005</c:v>
                </c:pt>
                <c:pt idx="166">
                  <c:v>0.85055000000000003</c:v>
                </c:pt>
                <c:pt idx="167">
                  <c:v>0.84753999999999996</c:v>
                </c:pt>
                <c:pt idx="168">
                  <c:v>0.76459999999999995</c:v>
                </c:pt>
                <c:pt idx="169">
                  <c:v>0.70086000000000004</c:v>
                </c:pt>
                <c:pt idx="170">
                  <c:v>0.46179999999999999</c:v>
                </c:pt>
                <c:pt idx="171">
                  <c:v>0.70338000000000001</c:v>
                </c:pt>
                <c:pt idx="172">
                  <c:v>0.48177999999999999</c:v>
                </c:pt>
                <c:pt idx="173">
                  <c:v>0.49132999999999999</c:v>
                </c:pt>
                <c:pt idx="174">
                  <c:v>0.37297999999999998</c:v>
                </c:pt>
                <c:pt idx="175">
                  <c:v>0.36246</c:v>
                </c:pt>
                <c:pt idx="176">
                  <c:v>0.32063999999999998</c:v>
                </c:pt>
                <c:pt idx="177">
                  <c:v>0.38122</c:v>
                </c:pt>
                <c:pt idx="178">
                  <c:v>0.28111999999999998</c:v>
                </c:pt>
                <c:pt idx="179">
                  <c:v>-0.17008999999999999</c:v>
                </c:pt>
                <c:pt idx="180">
                  <c:v>-0.60704000000000002</c:v>
                </c:pt>
                <c:pt idx="181">
                  <c:v>-0.29252</c:v>
                </c:pt>
                <c:pt idx="182">
                  <c:v>-6.9949999999999998E-2</c:v>
                </c:pt>
                <c:pt idx="183">
                  <c:v>0.20954</c:v>
                </c:pt>
                <c:pt idx="184">
                  <c:v>0.59933999999999998</c:v>
                </c:pt>
                <c:pt idx="185">
                  <c:v>0.49890000000000001</c:v>
                </c:pt>
                <c:pt idx="186">
                  <c:v>0.54232999999999998</c:v>
                </c:pt>
                <c:pt idx="187">
                  <c:v>0.44141000000000002</c:v>
                </c:pt>
                <c:pt idx="188">
                  <c:v>0.19975999999999999</c:v>
                </c:pt>
                <c:pt idx="189">
                  <c:v>0.38977000000000001</c:v>
                </c:pt>
                <c:pt idx="190">
                  <c:v>0.13016</c:v>
                </c:pt>
                <c:pt idx="191">
                  <c:v>0.25054999999999999</c:v>
                </c:pt>
                <c:pt idx="192">
                  <c:v>0.32573000000000002</c:v>
                </c:pt>
                <c:pt idx="193">
                  <c:v>-0.12139999999999999</c:v>
                </c:pt>
                <c:pt idx="194">
                  <c:v>-0.04</c:v>
                </c:pt>
                <c:pt idx="195">
                  <c:v>-0.25889000000000001</c:v>
                </c:pt>
                <c:pt idx="196">
                  <c:v>-0.11915000000000001</c:v>
                </c:pt>
                <c:pt idx="197">
                  <c:v>4.9639999999999997E-2</c:v>
                </c:pt>
                <c:pt idx="198">
                  <c:v>0.16980999999999999</c:v>
                </c:pt>
                <c:pt idx="199">
                  <c:v>0.21973999999999999</c:v>
                </c:pt>
                <c:pt idx="200">
                  <c:v>0.39872000000000002</c:v>
                </c:pt>
                <c:pt idx="201">
                  <c:v>0.50771999999999995</c:v>
                </c:pt>
                <c:pt idx="202">
                  <c:v>0.58994000000000002</c:v>
                </c:pt>
                <c:pt idx="203">
                  <c:v>1.0996699999999999</c:v>
                </c:pt>
                <c:pt idx="204">
                  <c:v>1.7248399999999999</c:v>
                </c:pt>
                <c:pt idx="205">
                  <c:v>1.9548300000000001</c:v>
                </c:pt>
                <c:pt idx="206">
                  <c:v>1.53061</c:v>
                </c:pt>
                <c:pt idx="207">
                  <c:v>1.8967799999999999</c:v>
                </c:pt>
                <c:pt idx="208">
                  <c:v>1.38185</c:v>
                </c:pt>
                <c:pt idx="209">
                  <c:v>1.29999</c:v>
                </c:pt>
                <c:pt idx="210">
                  <c:v>1.33626</c:v>
                </c:pt>
                <c:pt idx="211">
                  <c:v>1.5447500000000001</c:v>
                </c:pt>
                <c:pt idx="212">
                  <c:v>1.5587800000000001</c:v>
                </c:pt>
                <c:pt idx="213">
                  <c:v>1.3668800000000001</c:v>
                </c:pt>
                <c:pt idx="214">
                  <c:v>1.5308200000000001</c:v>
                </c:pt>
                <c:pt idx="215">
                  <c:v>1.3448</c:v>
                </c:pt>
                <c:pt idx="216">
                  <c:v>1.2966299999999999</c:v>
                </c:pt>
                <c:pt idx="217">
                  <c:v>1.11266</c:v>
                </c:pt>
                <c:pt idx="218">
                  <c:v>1.3991499999999999</c:v>
                </c:pt>
                <c:pt idx="219">
                  <c:v>1.22465</c:v>
                </c:pt>
                <c:pt idx="220">
                  <c:v>1.95136</c:v>
                </c:pt>
                <c:pt idx="221">
                  <c:v>1.9690399999999999</c:v>
                </c:pt>
                <c:pt idx="222">
                  <c:v>2.1944499999999998</c:v>
                </c:pt>
                <c:pt idx="223">
                  <c:v>2.0806800000000001</c:v>
                </c:pt>
                <c:pt idx="224">
                  <c:v>2.0823100000000001</c:v>
                </c:pt>
                <c:pt idx="225">
                  <c:v>2.2865000000000002</c:v>
                </c:pt>
                <c:pt idx="226">
                  <c:v>1.91893</c:v>
                </c:pt>
                <c:pt idx="227">
                  <c:v>1.5221</c:v>
                </c:pt>
                <c:pt idx="228">
                  <c:v>1.3883399999999999</c:v>
                </c:pt>
                <c:pt idx="229">
                  <c:v>1.49342</c:v>
                </c:pt>
                <c:pt idx="230">
                  <c:v>1.3992800000000001</c:v>
                </c:pt>
                <c:pt idx="231">
                  <c:v>1.7228000000000001</c:v>
                </c:pt>
                <c:pt idx="232">
                  <c:v>1.2215100000000001</c:v>
                </c:pt>
                <c:pt idx="233">
                  <c:v>1.26813</c:v>
                </c:pt>
                <c:pt idx="234">
                  <c:v>1.0206999999999999</c:v>
                </c:pt>
                <c:pt idx="235">
                  <c:v>1.00952</c:v>
                </c:pt>
                <c:pt idx="236">
                  <c:v>0.83316999999999997</c:v>
                </c:pt>
                <c:pt idx="237">
                  <c:v>0.72602</c:v>
                </c:pt>
                <c:pt idx="238">
                  <c:v>0.96060999999999996</c:v>
                </c:pt>
                <c:pt idx="239">
                  <c:v>1.32629</c:v>
                </c:pt>
                <c:pt idx="240">
                  <c:v>1.3596200000000001</c:v>
                </c:pt>
                <c:pt idx="241">
                  <c:v>1.2197499999999999</c:v>
                </c:pt>
                <c:pt idx="242">
                  <c:v>0.74748000000000003</c:v>
                </c:pt>
                <c:pt idx="243">
                  <c:v>0.31398999999999999</c:v>
                </c:pt>
                <c:pt idx="244">
                  <c:v>8.5519999999999999E-2</c:v>
                </c:pt>
                <c:pt idx="245">
                  <c:v>0.26562999999999998</c:v>
                </c:pt>
                <c:pt idx="246">
                  <c:v>0.39080999999999999</c:v>
                </c:pt>
                <c:pt idx="247">
                  <c:v>-0.17133000000000001</c:v>
                </c:pt>
                <c:pt idx="248">
                  <c:v>-0.31341999999999998</c:v>
                </c:pt>
                <c:pt idx="249">
                  <c:v>-0.27504000000000001</c:v>
                </c:pt>
                <c:pt idx="250">
                  <c:v>-0.28544000000000003</c:v>
                </c:pt>
                <c:pt idx="251">
                  <c:v>-0.26557999999999998</c:v>
                </c:pt>
                <c:pt idx="252">
                  <c:v>0.91022000000000003</c:v>
                </c:pt>
                <c:pt idx="253">
                  <c:v>0.93725999999999998</c:v>
                </c:pt>
                <c:pt idx="254">
                  <c:v>1.33168</c:v>
                </c:pt>
                <c:pt idx="255">
                  <c:v>1.6219300000000001</c:v>
                </c:pt>
                <c:pt idx="256">
                  <c:v>1.98424</c:v>
                </c:pt>
                <c:pt idx="257">
                  <c:v>1.9017900000000001</c:v>
                </c:pt>
                <c:pt idx="258">
                  <c:v>2.1648299999999998</c:v>
                </c:pt>
                <c:pt idx="259">
                  <c:v>2.9557600000000002</c:v>
                </c:pt>
                <c:pt idx="260">
                  <c:v>3.3631899999999999</c:v>
                </c:pt>
                <c:pt idx="261">
                  <c:v>4.0513599999999999</c:v>
                </c:pt>
                <c:pt idx="262">
                  <c:v>4.8664100000000001</c:v>
                </c:pt>
                <c:pt idx="263">
                  <c:v>4.96434</c:v>
                </c:pt>
                <c:pt idx="264">
                  <c:v>5.1082400000000003</c:v>
                </c:pt>
                <c:pt idx="265">
                  <c:v>5.8745500000000002</c:v>
                </c:pt>
                <c:pt idx="266">
                  <c:v>7.4439099999999998</c:v>
                </c:pt>
                <c:pt idx="267">
                  <c:v>7.4388699999999996</c:v>
                </c:pt>
                <c:pt idx="268">
                  <c:v>8.0525000000000002</c:v>
                </c:pt>
                <c:pt idx="269">
                  <c:v>8.64438</c:v>
                </c:pt>
                <c:pt idx="270">
                  <c:v>8.8661700000000003</c:v>
                </c:pt>
                <c:pt idx="271">
                  <c:v>9.1405799999999999</c:v>
                </c:pt>
                <c:pt idx="272">
                  <c:v>9.9271799999999999</c:v>
                </c:pt>
                <c:pt idx="273">
                  <c:v>10.6206</c:v>
                </c:pt>
                <c:pt idx="274">
                  <c:v>10.054600000000001</c:v>
                </c:pt>
                <c:pt idx="275">
                  <c:v>9.1963399999999993</c:v>
                </c:pt>
                <c:pt idx="276">
                  <c:v>8.64499</c:v>
                </c:pt>
                <c:pt idx="277">
                  <c:v>8.5018799999999999</c:v>
                </c:pt>
                <c:pt idx="278">
                  <c:v>6.8845000000000001</c:v>
                </c:pt>
                <c:pt idx="279">
                  <c:v>6.9498699999999998</c:v>
                </c:pt>
                <c:pt idx="280">
                  <c:v>6.0911499999999998</c:v>
                </c:pt>
                <c:pt idx="281">
                  <c:v>5.5038</c:v>
                </c:pt>
                <c:pt idx="282">
                  <c:v>5.2757399999999999</c:v>
                </c:pt>
                <c:pt idx="283">
                  <c:v>5.2184999999999997</c:v>
                </c:pt>
                <c:pt idx="284">
                  <c:v>4.3099100000000004</c:v>
                </c:pt>
                <c:pt idx="285">
                  <c:v>2.8753199999999999</c:v>
                </c:pt>
              </c:numCache>
            </c:numRef>
          </c:val>
          <c:smooth val="0"/>
          <c:extLst>
            <c:ext xmlns:c16="http://schemas.microsoft.com/office/drawing/2014/chart" uri="{C3380CC4-5D6E-409C-BE32-E72D297353CC}">
              <c16:uniqueId val="{00000001-4A31-4CFF-9A4E-0E4D1E98C7F1}"/>
            </c:ext>
          </c:extLst>
        </c:ser>
        <c:ser>
          <c:idx val="2"/>
          <c:order val="2"/>
          <c:tx>
            <c:strRef>
              <c:f>cpi!$D$3</c:f>
              <c:strCache>
                <c:ptCount val="1"/>
                <c:pt idx="0">
                  <c:v>Japan</c:v>
                </c:pt>
              </c:strCache>
            </c:strRef>
          </c:tx>
          <c:spPr>
            <a:ln w="25400">
              <a:solidFill>
                <a:srgbClr val="C02800"/>
              </a:solidFill>
            </a:ln>
          </c:spPr>
          <c:marker>
            <c:symbol val="none"/>
          </c:marker>
          <c:cat>
            <c:numRef>
              <c:f>cpi!$A$4:$A$289</c:f>
              <c:numCache>
                <c:formatCode>yyyy\-mm\-dd</c:formatCode>
                <c:ptCount val="286"/>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pt idx="199">
                  <c:v>42583</c:v>
                </c:pt>
                <c:pt idx="200">
                  <c:v>42614</c:v>
                </c:pt>
                <c:pt idx="201">
                  <c:v>42644</c:v>
                </c:pt>
                <c:pt idx="202">
                  <c:v>42675</c:v>
                </c:pt>
                <c:pt idx="203">
                  <c:v>42705</c:v>
                </c:pt>
                <c:pt idx="204">
                  <c:v>42736</c:v>
                </c:pt>
                <c:pt idx="205">
                  <c:v>42767</c:v>
                </c:pt>
                <c:pt idx="206">
                  <c:v>42795</c:v>
                </c:pt>
                <c:pt idx="207">
                  <c:v>42826</c:v>
                </c:pt>
                <c:pt idx="208">
                  <c:v>42856</c:v>
                </c:pt>
                <c:pt idx="209">
                  <c:v>42887</c:v>
                </c:pt>
                <c:pt idx="210">
                  <c:v>42917</c:v>
                </c:pt>
                <c:pt idx="211">
                  <c:v>42948</c:v>
                </c:pt>
                <c:pt idx="212">
                  <c:v>42979</c:v>
                </c:pt>
                <c:pt idx="213">
                  <c:v>43009</c:v>
                </c:pt>
                <c:pt idx="214">
                  <c:v>43040</c:v>
                </c:pt>
                <c:pt idx="215">
                  <c:v>43070</c:v>
                </c:pt>
                <c:pt idx="216">
                  <c:v>43101</c:v>
                </c:pt>
                <c:pt idx="217">
                  <c:v>43132</c:v>
                </c:pt>
                <c:pt idx="218">
                  <c:v>43160</c:v>
                </c:pt>
                <c:pt idx="219">
                  <c:v>43191</c:v>
                </c:pt>
                <c:pt idx="220">
                  <c:v>43221</c:v>
                </c:pt>
                <c:pt idx="221">
                  <c:v>43252</c:v>
                </c:pt>
                <c:pt idx="222">
                  <c:v>43282</c:v>
                </c:pt>
                <c:pt idx="223">
                  <c:v>43313</c:v>
                </c:pt>
                <c:pt idx="224">
                  <c:v>43344</c:v>
                </c:pt>
                <c:pt idx="225">
                  <c:v>43374</c:v>
                </c:pt>
                <c:pt idx="226">
                  <c:v>43405</c:v>
                </c:pt>
                <c:pt idx="227">
                  <c:v>43435</c:v>
                </c:pt>
                <c:pt idx="228">
                  <c:v>43466</c:v>
                </c:pt>
                <c:pt idx="229">
                  <c:v>43497</c:v>
                </c:pt>
                <c:pt idx="230">
                  <c:v>43525</c:v>
                </c:pt>
                <c:pt idx="231">
                  <c:v>43556</c:v>
                </c:pt>
                <c:pt idx="232">
                  <c:v>43586</c:v>
                </c:pt>
                <c:pt idx="233">
                  <c:v>43617</c:v>
                </c:pt>
                <c:pt idx="234">
                  <c:v>43647</c:v>
                </c:pt>
                <c:pt idx="235">
                  <c:v>43678</c:v>
                </c:pt>
                <c:pt idx="236">
                  <c:v>43709</c:v>
                </c:pt>
                <c:pt idx="237">
                  <c:v>43739</c:v>
                </c:pt>
                <c:pt idx="238">
                  <c:v>43770</c:v>
                </c:pt>
                <c:pt idx="239">
                  <c:v>43800</c:v>
                </c:pt>
                <c:pt idx="240">
                  <c:v>43831</c:v>
                </c:pt>
                <c:pt idx="241">
                  <c:v>43862</c:v>
                </c:pt>
                <c:pt idx="242">
                  <c:v>43891</c:v>
                </c:pt>
                <c:pt idx="243">
                  <c:v>43922</c:v>
                </c:pt>
                <c:pt idx="244">
                  <c:v>43952</c:v>
                </c:pt>
                <c:pt idx="245">
                  <c:v>43983</c:v>
                </c:pt>
                <c:pt idx="246">
                  <c:v>44013</c:v>
                </c:pt>
                <c:pt idx="247">
                  <c:v>44044</c:v>
                </c:pt>
                <c:pt idx="248">
                  <c:v>44075</c:v>
                </c:pt>
                <c:pt idx="249">
                  <c:v>44105</c:v>
                </c:pt>
                <c:pt idx="250">
                  <c:v>44136</c:v>
                </c:pt>
                <c:pt idx="251">
                  <c:v>44166</c:v>
                </c:pt>
                <c:pt idx="252">
                  <c:v>44197</c:v>
                </c:pt>
                <c:pt idx="253">
                  <c:v>44228</c:v>
                </c:pt>
                <c:pt idx="254">
                  <c:v>44256</c:v>
                </c:pt>
                <c:pt idx="255">
                  <c:v>44287</c:v>
                </c:pt>
                <c:pt idx="256">
                  <c:v>44317</c:v>
                </c:pt>
                <c:pt idx="257">
                  <c:v>44348</c:v>
                </c:pt>
                <c:pt idx="258">
                  <c:v>44378</c:v>
                </c:pt>
                <c:pt idx="259">
                  <c:v>44409</c:v>
                </c:pt>
                <c:pt idx="260">
                  <c:v>44440</c:v>
                </c:pt>
                <c:pt idx="261">
                  <c:v>44470</c:v>
                </c:pt>
                <c:pt idx="262">
                  <c:v>44501</c:v>
                </c:pt>
                <c:pt idx="263">
                  <c:v>44531</c:v>
                </c:pt>
                <c:pt idx="264">
                  <c:v>44562</c:v>
                </c:pt>
                <c:pt idx="265">
                  <c:v>44593</c:v>
                </c:pt>
                <c:pt idx="266">
                  <c:v>44621</c:v>
                </c:pt>
                <c:pt idx="267">
                  <c:v>44652</c:v>
                </c:pt>
                <c:pt idx="268">
                  <c:v>44682</c:v>
                </c:pt>
                <c:pt idx="269">
                  <c:v>44713</c:v>
                </c:pt>
                <c:pt idx="270">
                  <c:v>44743</c:v>
                </c:pt>
                <c:pt idx="271">
                  <c:v>44774</c:v>
                </c:pt>
                <c:pt idx="272">
                  <c:v>44805</c:v>
                </c:pt>
                <c:pt idx="273">
                  <c:v>44835</c:v>
                </c:pt>
                <c:pt idx="274">
                  <c:v>44866</c:v>
                </c:pt>
                <c:pt idx="275">
                  <c:v>44896</c:v>
                </c:pt>
                <c:pt idx="276">
                  <c:v>44927</c:v>
                </c:pt>
                <c:pt idx="277">
                  <c:v>44958</c:v>
                </c:pt>
                <c:pt idx="278">
                  <c:v>44986</c:v>
                </c:pt>
                <c:pt idx="279">
                  <c:v>45017</c:v>
                </c:pt>
                <c:pt idx="280">
                  <c:v>45047</c:v>
                </c:pt>
                <c:pt idx="281">
                  <c:v>45078</c:v>
                </c:pt>
                <c:pt idx="282">
                  <c:v>45108</c:v>
                </c:pt>
                <c:pt idx="283">
                  <c:v>45139</c:v>
                </c:pt>
                <c:pt idx="284">
                  <c:v>45170</c:v>
                </c:pt>
                <c:pt idx="285">
                  <c:v>45200</c:v>
                </c:pt>
              </c:numCache>
            </c:numRef>
          </c:cat>
          <c:val>
            <c:numRef>
              <c:f>cpi!$D$4:$D$289</c:f>
              <c:numCache>
                <c:formatCode>0.0</c:formatCode>
                <c:ptCount val="286"/>
                <c:pt idx="0">
                  <c:v>-0.71355759429152954</c:v>
                </c:pt>
                <c:pt idx="1">
                  <c:v>-0.61412487205733157</c:v>
                </c:pt>
                <c:pt idx="2">
                  <c:v>-0.51124744376278386</c:v>
                </c:pt>
                <c:pt idx="3">
                  <c:v>-0.81383519837233109</c:v>
                </c:pt>
                <c:pt idx="4">
                  <c:v>-0.71210579857579148</c:v>
                </c:pt>
                <c:pt idx="5">
                  <c:v>-0.61224489795918657</c:v>
                </c:pt>
                <c:pt idx="6">
                  <c:v>-0.51229508196722406</c:v>
                </c:pt>
                <c:pt idx="7">
                  <c:v>-0.51072522982636315</c:v>
                </c:pt>
                <c:pt idx="8">
                  <c:v>-0.91649694501019496</c:v>
                </c:pt>
                <c:pt idx="9">
                  <c:v>-1.1178861788617951</c:v>
                </c:pt>
                <c:pt idx="10">
                  <c:v>-0.81799591002044281</c:v>
                </c:pt>
                <c:pt idx="11">
                  <c:v>-0.4102564102564088</c:v>
                </c:pt>
                <c:pt idx="12">
                  <c:v>-0.30800821355236963</c:v>
                </c:pt>
                <c:pt idx="13">
                  <c:v>-0.30895983522142956</c:v>
                </c:pt>
                <c:pt idx="14">
                  <c:v>-0.61664953751284202</c:v>
                </c:pt>
                <c:pt idx="15">
                  <c:v>-0.71794871794872961</c:v>
                </c:pt>
                <c:pt idx="16">
                  <c:v>-0.71721311475408811</c:v>
                </c:pt>
                <c:pt idx="17">
                  <c:v>-0.71868583162218158</c:v>
                </c:pt>
                <c:pt idx="18">
                  <c:v>-0.72090628218330721</c:v>
                </c:pt>
                <c:pt idx="19">
                  <c:v>-0.71868583162218158</c:v>
                </c:pt>
                <c:pt idx="20">
                  <c:v>-0.71942446043166797</c:v>
                </c:pt>
                <c:pt idx="21">
                  <c:v>-0.71942446043166797</c:v>
                </c:pt>
                <c:pt idx="22">
                  <c:v>-0.92783505154639556</c:v>
                </c:pt>
                <c:pt idx="23">
                  <c:v>-1.1328527291452133</c:v>
                </c:pt>
                <c:pt idx="24">
                  <c:v>-1.3388259526261521</c:v>
                </c:pt>
                <c:pt idx="25">
                  <c:v>-1.5495867768594991</c:v>
                </c:pt>
                <c:pt idx="26">
                  <c:v>-1.2409513960703293</c:v>
                </c:pt>
                <c:pt idx="27">
                  <c:v>-1.0330578512396755</c:v>
                </c:pt>
                <c:pt idx="28">
                  <c:v>-0.82559339525285225</c:v>
                </c:pt>
                <c:pt idx="29">
                  <c:v>-0.72388831437434931</c:v>
                </c:pt>
                <c:pt idx="30">
                  <c:v>-0.82987551867221043</c:v>
                </c:pt>
                <c:pt idx="31">
                  <c:v>-0.82730093071354815</c:v>
                </c:pt>
                <c:pt idx="32">
                  <c:v>-0.72463768115940752</c:v>
                </c:pt>
                <c:pt idx="33">
                  <c:v>-0.93167701863353614</c:v>
                </c:pt>
                <c:pt idx="34">
                  <c:v>-0.4162330905306959</c:v>
                </c:pt>
                <c:pt idx="35">
                  <c:v>-0.3125</c:v>
                </c:pt>
                <c:pt idx="36">
                  <c:v>-0.41753653444675365</c:v>
                </c:pt>
                <c:pt idx="37">
                  <c:v>-0.20986358866737476</c:v>
                </c:pt>
                <c:pt idx="38">
                  <c:v>-0.10471204188480954</c:v>
                </c:pt>
                <c:pt idx="39">
                  <c:v>-0.10438413361168841</c:v>
                </c:pt>
                <c:pt idx="40">
                  <c:v>-0.20811654526534085</c:v>
                </c:pt>
                <c:pt idx="41">
                  <c:v>-0.4166666666666714</c:v>
                </c:pt>
                <c:pt idx="42">
                  <c:v>-0.20920502092049276</c:v>
                </c:pt>
                <c:pt idx="43">
                  <c:v>-0.31282586027113268</c:v>
                </c:pt>
                <c:pt idx="44">
                  <c:v>-0.20855057351407424</c:v>
                </c:pt>
                <c:pt idx="45">
                  <c:v>0</c:v>
                </c:pt>
                <c:pt idx="46">
                  <c:v>-0.52246603970741035</c:v>
                </c:pt>
                <c:pt idx="47">
                  <c:v>-0.41797283176595101</c:v>
                </c:pt>
                <c:pt idx="48">
                  <c:v>-0.3144654088050487</c:v>
                </c:pt>
                <c:pt idx="49">
                  <c:v>0</c:v>
                </c:pt>
                <c:pt idx="50">
                  <c:v>-0.10482180293502097</c:v>
                </c:pt>
                <c:pt idx="51">
                  <c:v>-0.41797283176595101</c:v>
                </c:pt>
                <c:pt idx="52">
                  <c:v>-0.52137643378519272</c:v>
                </c:pt>
                <c:pt idx="53">
                  <c:v>0</c:v>
                </c:pt>
                <c:pt idx="54">
                  <c:v>-0.10482180293502097</c:v>
                </c:pt>
                <c:pt idx="55">
                  <c:v>-0.20920502092049276</c:v>
                </c:pt>
                <c:pt idx="56">
                  <c:v>0</c:v>
                </c:pt>
                <c:pt idx="57">
                  <c:v>0.52246603970742456</c:v>
                </c:pt>
                <c:pt idx="58">
                  <c:v>0.84033613445377853</c:v>
                </c:pt>
                <c:pt idx="59">
                  <c:v>0.20986358866737476</c:v>
                </c:pt>
                <c:pt idx="60">
                  <c:v>0.2103049421661467</c:v>
                </c:pt>
                <c:pt idx="61">
                  <c:v>-0.10515247108307335</c:v>
                </c:pt>
                <c:pt idx="62">
                  <c:v>0</c:v>
                </c:pt>
                <c:pt idx="63">
                  <c:v>0.10493179433368027</c:v>
                </c:pt>
                <c:pt idx="64">
                  <c:v>0.10482180293500676</c:v>
                </c:pt>
                <c:pt idx="65">
                  <c:v>-0.52301255230126742</c:v>
                </c:pt>
                <c:pt idx="66">
                  <c:v>-0.31479538300104082</c:v>
                </c:pt>
                <c:pt idx="67">
                  <c:v>-0.3144654088050487</c:v>
                </c:pt>
                <c:pt idx="68">
                  <c:v>-0.31347962382444905</c:v>
                </c:pt>
                <c:pt idx="69">
                  <c:v>-0.83160083160083786</c:v>
                </c:pt>
                <c:pt idx="70">
                  <c:v>-1.0416666666666572</c:v>
                </c:pt>
                <c:pt idx="71">
                  <c:v>-0.41884816753928078</c:v>
                </c:pt>
                <c:pt idx="72">
                  <c:v>-0.10493179433368027</c:v>
                </c:pt>
                <c:pt idx="73">
                  <c:v>-0.10526315789472562</c:v>
                </c:pt>
                <c:pt idx="74">
                  <c:v>-0.20986358866737476</c:v>
                </c:pt>
                <c:pt idx="75">
                  <c:v>-0.10482180293502097</c:v>
                </c:pt>
                <c:pt idx="76">
                  <c:v>0.10471204188479533</c:v>
                </c:pt>
                <c:pt idx="77">
                  <c:v>0.52576235541535254</c:v>
                </c:pt>
                <c:pt idx="78">
                  <c:v>0.31578947368420529</c:v>
                </c:pt>
                <c:pt idx="79">
                  <c:v>0.94637223974764595</c:v>
                </c:pt>
                <c:pt idx="80">
                  <c:v>0.62893081761006897</c:v>
                </c:pt>
                <c:pt idx="81">
                  <c:v>0.41928721174002703</c:v>
                </c:pt>
                <c:pt idx="82">
                  <c:v>0.31578947368420529</c:v>
                </c:pt>
                <c:pt idx="83">
                  <c:v>0.31545741324923426</c:v>
                </c:pt>
                <c:pt idx="84">
                  <c:v>0</c:v>
                </c:pt>
                <c:pt idx="85">
                  <c:v>-0.21074815595363816</c:v>
                </c:pt>
                <c:pt idx="86">
                  <c:v>-0.10515247108307335</c:v>
                </c:pt>
                <c:pt idx="87">
                  <c:v>0</c:v>
                </c:pt>
                <c:pt idx="88">
                  <c:v>0</c:v>
                </c:pt>
                <c:pt idx="89">
                  <c:v>-0.20920502092049276</c:v>
                </c:pt>
                <c:pt idx="90">
                  <c:v>0</c:v>
                </c:pt>
                <c:pt idx="91">
                  <c:v>-0.2083333333333286</c:v>
                </c:pt>
                <c:pt idx="92">
                  <c:v>-0.2083333333333286</c:v>
                </c:pt>
                <c:pt idx="93">
                  <c:v>0.20876826722337682</c:v>
                </c:pt>
                <c:pt idx="94">
                  <c:v>0.62959076600211006</c:v>
                </c:pt>
                <c:pt idx="95">
                  <c:v>0.62893081761006897</c:v>
                </c:pt>
                <c:pt idx="96">
                  <c:v>0.73529411764705799</c:v>
                </c:pt>
                <c:pt idx="97">
                  <c:v>1.0559662090813049</c:v>
                </c:pt>
                <c:pt idx="98">
                  <c:v>1.1578947368420955</c:v>
                </c:pt>
                <c:pt idx="99">
                  <c:v>0.73452256033579033</c:v>
                </c:pt>
                <c:pt idx="100">
                  <c:v>1.2552301255230276</c:v>
                </c:pt>
                <c:pt idx="101">
                  <c:v>1.9916142557651995</c:v>
                </c:pt>
                <c:pt idx="102">
                  <c:v>2.3084994753410371</c:v>
                </c:pt>
                <c:pt idx="103">
                  <c:v>2.0876826722338251</c:v>
                </c:pt>
                <c:pt idx="104">
                  <c:v>2.0876826722338251</c:v>
                </c:pt>
                <c:pt idx="105">
                  <c:v>1.7708333333333428</c:v>
                </c:pt>
                <c:pt idx="106">
                  <c:v>0.93847758081334121</c:v>
                </c:pt>
                <c:pt idx="107">
                  <c:v>0.4166666666666714</c:v>
                </c:pt>
                <c:pt idx="108">
                  <c:v>0</c:v>
                </c:pt>
                <c:pt idx="109">
                  <c:v>-0.10449320794148775</c:v>
                </c:pt>
                <c:pt idx="110">
                  <c:v>-0.20811654526534085</c:v>
                </c:pt>
                <c:pt idx="111">
                  <c:v>0</c:v>
                </c:pt>
                <c:pt idx="112">
                  <c:v>-1.0330578512396755</c:v>
                </c:pt>
                <c:pt idx="113">
                  <c:v>-1.7471736896197427</c:v>
                </c:pt>
                <c:pt idx="114">
                  <c:v>-2.2564102564102626</c:v>
                </c:pt>
                <c:pt idx="115">
                  <c:v>-2.2494887525562319</c:v>
                </c:pt>
                <c:pt idx="116">
                  <c:v>-2.2494887525562319</c:v>
                </c:pt>
                <c:pt idx="117">
                  <c:v>-2.5588536335721557</c:v>
                </c:pt>
                <c:pt idx="118">
                  <c:v>-1.8595041322314074</c:v>
                </c:pt>
                <c:pt idx="119">
                  <c:v>-1.6597510373444067</c:v>
                </c:pt>
                <c:pt idx="120">
                  <c:v>-1.0427528675703854</c:v>
                </c:pt>
                <c:pt idx="121">
                  <c:v>-0.73221757322174597</c:v>
                </c:pt>
                <c:pt idx="122">
                  <c:v>-0.8342022940563254</c:v>
                </c:pt>
                <c:pt idx="123">
                  <c:v>-0.9375</c:v>
                </c:pt>
                <c:pt idx="124">
                  <c:v>-0.73068893528184731</c:v>
                </c:pt>
                <c:pt idx="125">
                  <c:v>-0.73221757322174597</c:v>
                </c:pt>
                <c:pt idx="126">
                  <c:v>-0.94438614900313667</c:v>
                </c:pt>
                <c:pt idx="127">
                  <c:v>-1.1506276150627599</c:v>
                </c:pt>
                <c:pt idx="128">
                  <c:v>-0.94142259414225293</c:v>
                </c:pt>
                <c:pt idx="129">
                  <c:v>-0.21008403361344108</c:v>
                </c:pt>
                <c:pt idx="130">
                  <c:v>-0.31578947368420529</c:v>
                </c:pt>
                <c:pt idx="131">
                  <c:v>-0.31645569620253866</c:v>
                </c:pt>
                <c:pt idx="132">
                  <c:v>-0.5268703898840954</c:v>
                </c:pt>
                <c:pt idx="133">
                  <c:v>-0.5268703898840954</c:v>
                </c:pt>
                <c:pt idx="134">
                  <c:v>-0.52576235541535254</c:v>
                </c:pt>
                <c:pt idx="135">
                  <c:v>-0.42060988433226498</c:v>
                </c:pt>
                <c:pt idx="136">
                  <c:v>-0.42060988433226498</c:v>
                </c:pt>
                <c:pt idx="137">
                  <c:v>-0.31612223393045724</c:v>
                </c:pt>
                <c:pt idx="138">
                  <c:v>0.21186440677965379</c:v>
                </c:pt>
                <c:pt idx="139">
                  <c:v>0.21164021164021563</c:v>
                </c:pt>
                <c:pt idx="140">
                  <c:v>0</c:v>
                </c:pt>
                <c:pt idx="141">
                  <c:v>-0.21052631578946546</c:v>
                </c:pt>
                <c:pt idx="142">
                  <c:v>-0.52798310454065245</c:v>
                </c:pt>
                <c:pt idx="143">
                  <c:v>-0.21164021164021563</c:v>
                </c:pt>
                <c:pt idx="144">
                  <c:v>0.10593220338981268</c:v>
                </c:pt>
                <c:pt idx="145">
                  <c:v>0.31779661016948069</c:v>
                </c:pt>
                <c:pt idx="146">
                  <c:v>0.52854122621563704</c:v>
                </c:pt>
                <c:pt idx="147">
                  <c:v>0.52798310454065245</c:v>
                </c:pt>
                <c:pt idx="148">
                  <c:v>0.21119324181626098</c:v>
                </c:pt>
                <c:pt idx="149">
                  <c:v>-0.21141649048624345</c:v>
                </c:pt>
                <c:pt idx="150">
                  <c:v>-0.52854122621563704</c:v>
                </c:pt>
                <c:pt idx="151">
                  <c:v>-0.42238648363253617</c:v>
                </c:pt>
                <c:pt idx="152">
                  <c:v>-0.31678986272439147</c:v>
                </c:pt>
                <c:pt idx="153">
                  <c:v>-0.4219409282700326</c:v>
                </c:pt>
                <c:pt idx="154">
                  <c:v>-0.10615711252654592</c:v>
                </c:pt>
                <c:pt idx="155">
                  <c:v>-0.21208907741251437</c:v>
                </c:pt>
                <c:pt idx="156">
                  <c:v>-0.31746031746031633</c:v>
                </c:pt>
                <c:pt idx="157">
                  <c:v>-0.73917634635691343</c:v>
                </c:pt>
                <c:pt idx="158">
                  <c:v>-0.94637223974763174</c:v>
                </c:pt>
                <c:pt idx="159">
                  <c:v>-0.7352941176470722</c:v>
                </c:pt>
                <c:pt idx="160">
                  <c:v>-0.31612223393045724</c:v>
                </c:pt>
                <c:pt idx="161">
                  <c:v>0.21186440677965379</c:v>
                </c:pt>
                <c:pt idx="162">
                  <c:v>0.74388947927737092</c:v>
                </c:pt>
                <c:pt idx="163">
                  <c:v>0.84835630965005748</c:v>
                </c:pt>
                <c:pt idx="164">
                  <c:v>1.0593220338983116</c:v>
                </c:pt>
                <c:pt idx="165">
                  <c:v>1.1652542372881243</c:v>
                </c:pt>
                <c:pt idx="166">
                  <c:v>1.4877789585547418</c:v>
                </c:pt>
                <c:pt idx="167">
                  <c:v>1.5940488841657867</c:v>
                </c:pt>
                <c:pt idx="168">
                  <c:v>1.3800424628449974</c:v>
                </c:pt>
                <c:pt idx="169">
                  <c:v>1.5957446808510696</c:v>
                </c:pt>
                <c:pt idx="170">
                  <c:v>1.5923566878981035</c:v>
                </c:pt>
                <c:pt idx="171">
                  <c:v>3.3862433862433789</c:v>
                </c:pt>
                <c:pt idx="172">
                  <c:v>3.6997885835095161</c:v>
                </c:pt>
                <c:pt idx="173">
                  <c:v>3.5940803382663802</c:v>
                </c:pt>
                <c:pt idx="174">
                  <c:v>3.48101265822784</c:v>
                </c:pt>
                <c:pt idx="175">
                  <c:v>3.364879074658262</c:v>
                </c:pt>
                <c:pt idx="176">
                  <c:v>3.2494758909853232</c:v>
                </c:pt>
                <c:pt idx="177">
                  <c:v>2.8272251308900707</c:v>
                </c:pt>
                <c:pt idx="178">
                  <c:v>2.5130890052356136</c:v>
                </c:pt>
                <c:pt idx="179">
                  <c:v>2.4058577405857875</c:v>
                </c:pt>
                <c:pt idx="180">
                  <c:v>2.4083769633507899</c:v>
                </c:pt>
                <c:pt idx="181">
                  <c:v>2.1989528795811424</c:v>
                </c:pt>
                <c:pt idx="182">
                  <c:v>2.2988505747126453</c:v>
                </c:pt>
                <c:pt idx="183">
                  <c:v>0.7164790174002178</c:v>
                </c:pt>
                <c:pt idx="184">
                  <c:v>0.61162079510704359</c:v>
                </c:pt>
                <c:pt idx="185">
                  <c:v>0.40816326530612912</c:v>
                </c:pt>
                <c:pt idx="186">
                  <c:v>0.20387359836901453</c:v>
                </c:pt>
                <c:pt idx="187">
                  <c:v>0.10172939979655382</c:v>
                </c:pt>
                <c:pt idx="188">
                  <c:v>0</c:v>
                </c:pt>
                <c:pt idx="189">
                  <c:v>0.30549898167005551</c:v>
                </c:pt>
                <c:pt idx="190">
                  <c:v>0.20429009193053105</c:v>
                </c:pt>
                <c:pt idx="191">
                  <c:v>0.20429009193053105</c:v>
                </c:pt>
                <c:pt idx="192">
                  <c:v>-0.10224948875254825</c:v>
                </c:pt>
                <c:pt idx="193">
                  <c:v>0.20491803278687826</c:v>
                </c:pt>
                <c:pt idx="194">
                  <c:v>0</c:v>
                </c:pt>
                <c:pt idx="195">
                  <c:v>-0.30487804878049474</c:v>
                </c:pt>
                <c:pt idx="196">
                  <c:v>-0.50658561296859261</c:v>
                </c:pt>
                <c:pt idx="197">
                  <c:v>-0.30487804878049474</c:v>
                </c:pt>
                <c:pt idx="198">
                  <c:v>-0.40691759918615844</c:v>
                </c:pt>
                <c:pt idx="199">
                  <c:v>-0.50813008130081982</c:v>
                </c:pt>
                <c:pt idx="200">
                  <c:v>-0.50761421319796796</c:v>
                </c:pt>
                <c:pt idx="201">
                  <c:v>0.10152284263958222</c:v>
                </c:pt>
                <c:pt idx="202">
                  <c:v>0.50968399592252922</c:v>
                </c:pt>
                <c:pt idx="203">
                  <c:v>0.3058103975535289</c:v>
                </c:pt>
                <c:pt idx="204">
                  <c:v>0.51177072671441692</c:v>
                </c:pt>
                <c:pt idx="205">
                  <c:v>0.30674846625767316</c:v>
                </c:pt>
                <c:pt idx="206">
                  <c:v>0.20429009193053105</c:v>
                </c:pt>
                <c:pt idx="207">
                  <c:v>0.40774719673801485</c:v>
                </c:pt>
                <c:pt idx="208">
                  <c:v>0.40733197556006928</c:v>
                </c:pt>
                <c:pt idx="209">
                  <c:v>0.40774719673801485</c:v>
                </c:pt>
                <c:pt idx="210">
                  <c:v>0.40858018386107631</c:v>
                </c:pt>
                <c:pt idx="211">
                  <c:v>0.61287027579162157</c:v>
                </c:pt>
                <c:pt idx="212">
                  <c:v>0.81632653061222982</c:v>
                </c:pt>
                <c:pt idx="213">
                  <c:v>0.20283975659229725</c:v>
                </c:pt>
                <c:pt idx="214">
                  <c:v>0.50709939148072181</c:v>
                </c:pt>
                <c:pt idx="215">
                  <c:v>1.0162601626016396</c:v>
                </c:pt>
                <c:pt idx="216">
                  <c:v>1.3238289205702642</c:v>
                </c:pt>
                <c:pt idx="217">
                  <c:v>1.4271151885830875</c:v>
                </c:pt>
                <c:pt idx="218">
                  <c:v>1.1213047910295586</c:v>
                </c:pt>
                <c:pt idx="219">
                  <c:v>0.60913705583756439</c:v>
                </c:pt>
                <c:pt idx="220">
                  <c:v>0.70993914807301906</c:v>
                </c:pt>
                <c:pt idx="221">
                  <c:v>0.71065989847716082</c:v>
                </c:pt>
                <c:pt idx="222">
                  <c:v>0.91556459816888491</c:v>
                </c:pt>
                <c:pt idx="223">
                  <c:v>1.3197969543147252</c:v>
                </c:pt>
                <c:pt idx="224">
                  <c:v>1.1133603238866527</c:v>
                </c:pt>
                <c:pt idx="225">
                  <c:v>1.41700404858301</c:v>
                </c:pt>
                <c:pt idx="226">
                  <c:v>0.90817356205852207</c:v>
                </c:pt>
                <c:pt idx="227">
                  <c:v>0.30181086519114331</c:v>
                </c:pt>
                <c:pt idx="228">
                  <c:v>0.20100502512563878</c:v>
                </c:pt>
                <c:pt idx="229">
                  <c:v>0.20100502512563878</c:v>
                </c:pt>
                <c:pt idx="230">
                  <c:v>0.50403225806452667</c:v>
                </c:pt>
                <c:pt idx="231">
                  <c:v>0.90817356205852207</c:v>
                </c:pt>
                <c:pt idx="232">
                  <c:v>0.70493454179253945</c:v>
                </c:pt>
                <c:pt idx="233">
                  <c:v>0.60483870967742348</c:v>
                </c:pt>
                <c:pt idx="234">
                  <c:v>0.60483870967742348</c:v>
                </c:pt>
                <c:pt idx="235">
                  <c:v>0.20040080160322304</c:v>
                </c:pt>
                <c:pt idx="236">
                  <c:v>0.20020020020020013</c:v>
                </c:pt>
                <c:pt idx="237">
                  <c:v>0.19960079840319622</c:v>
                </c:pt>
                <c:pt idx="238">
                  <c:v>0.49999999999998579</c:v>
                </c:pt>
                <c:pt idx="239">
                  <c:v>0.80240722166500689</c:v>
                </c:pt>
                <c:pt idx="240">
                  <c:v>0.80240722166500689</c:v>
                </c:pt>
                <c:pt idx="241">
                  <c:v>0.60180541624875161</c:v>
                </c:pt>
                <c:pt idx="242">
                  <c:v>0.60180541624875161</c:v>
                </c:pt>
                <c:pt idx="243">
                  <c:v>0.20000000000000284</c:v>
                </c:pt>
                <c:pt idx="244">
                  <c:v>9.9999999999994316E-2</c:v>
                </c:pt>
                <c:pt idx="245">
                  <c:v>0.10020040080161152</c:v>
                </c:pt>
                <c:pt idx="246">
                  <c:v>0.20040080160322304</c:v>
                </c:pt>
                <c:pt idx="247">
                  <c:v>9.9999999999994316E-2</c:v>
                </c:pt>
                <c:pt idx="248">
                  <c:v>-0.19980019980019392</c:v>
                </c:pt>
                <c:pt idx="249">
                  <c:v>-0.5976095617530035</c:v>
                </c:pt>
                <c:pt idx="250">
                  <c:v>-0.9950248756218798</c:v>
                </c:pt>
                <c:pt idx="251">
                  <c:v>-1.1940298507462757</c:v>
                </c:pt>
                <c:pt idx="252">
                  <c:v>-0.69651741293532154</c:v>
                </c:pt>
                <c:pt idx="253">
                  <c:v>-0.49850448654036938</c:v>
                </c:pt>
                <c:pt idx="254">
                  <c:v>-0.39880358923230119</c:v>
                </c:pt>
                <c:pt idx="255">
                  <c:v>-1.097804391217565</c:v>
                </c:pt>
                <c:pt idx="256">
                  <c:v>-0.69930069930069294</c:v>
                </c:pt>
                <c:pt idx="257">
                  <c:v>-0.40040040040040026</c:v>
                </c:pt>
                <c:pt idx="258">
                  <c:v>-0.29999999999999716</c:v>
                </c:pt>
                <c:pt idx="259">
                  <c:v>-0.39960039960038785</c:v>
                </c:pt>
                <c:pt idx="260">
                  <c:v>0.20020020020020013</c:v>
                </c:pt>
                <c:pt idx="261">
                  <c:v>0.10020040080161152</c:v>
                </c:pt>
                <c:pt idx="262">
                  <c:v>0.60301507537687371</c:v>
                </c:pt>
                <c:pt idx="263">
                  <c:v>0.80563947633433486</c:v>
                </c:pt>
                <c:pt idx="264">
                  <c:v>0.50100200400802919</c:v>
                </c:pt>
                <c:pt idx="265">
                  <c:v>0.90180360721443265</c:v>
                </c:pt>
                <c:pt idx="266">
                  <c:v>1.2012012012012008</c:v>
                </c:pt>
                <c:pt idx="267">
                  <c:v>2.4217961654894111</c:v>
                </c:pt>
                <c:pt idx="268">
                  <c:v>2.4144869215291749</c:v>
                </c:pt>
                <c:pt idx="269">
                  <c:v>2.3115577889447252</c:v>
                </c:pt>
                <c:pt idx="270">
                  <c:v>2.6078234704112191</c:v>
                </c:pt>
                <c:pt idx="271">
                  <c:v>3.0090270812437296</c:v>
                </c:pt>
                <c:pt idx="272">
                  <c:v>2.9970029970030083</c:v>
                </c:pt>
                <c:pt idx="273">
                  <c:v>3.8038038038038025</c:v>
                </c:pt>
                <c:pt idx="274">
                  <c:v>3.7962037962037982</c:v>
                </c:pt>
                <c:pt idx="275">
                  <c:v>3.9960039960039921</c:v>
                </c:pt>
                <c:pt idx="276">
                  <c:v>4.3868394815553415</c:v>
                </c:pt>
                <c:pt idx="277">
                  <c:v>3.2770605759682212</c:v>
                </c:pt>
                <c:pt idx="278">
                  <c:v>3.2640949554896252</c:v>
                </c:pt>
                <c:pt idx="279">
                  <c:v>3.5467980295566406</c:v>
                </c:pt>
                <c:pt idx="280">
                  <c:v>3.2416502946954751</c:v>
                </c:pt>
                <c:pt idx="281">
                  <c:v>3.339882121807463</c:v>
                </c:pt>
                <c:pt idx="282">
                  <c:v>3.3235581622678296</c:v>
                </c:pt>
                <c:pt idx="283">
                  <c:v>3.1158714703018546</c:v>
                </c:pt>
                <c:pt idx="284">
                  <c:v>3.0067895247332785</c:v>
                </c:pt>
                <c:pt idx="285">
                  <c:v>3.2786885245901516</c:v>
                </c:pt>
              </c:numCache>
            </c:numRef>
          </c:val>
          <c:smooth val="0"/>
          <c:extLst>
            <c:ext xmlns:c16="http://schemas.microsoft.com/office/drawing/2014/chart" uri="{C3380CC4-5D6E-409C-BE32-E72D297353CC}">
              <c16:uniqueId val="{00000002-4A31-4CFF-9A4E-0E4D1E98C7F1}"/>
            </c:ext>
          </c:extLst>
        </c:ser>
        <c:dLbls>
          <c:showLegendKey val="0"/>
          <c:showVal val="0"/>
          <c:showCatName val="0"/>
          <c:showSerName val="0"/>
          <c:showPercent val="0"/>
          <c:showBubbleSize val="0"/>
        </c:dLbls>
        <c:smooth val="0"/>
        <c:axId val="1325521920"/>
        <c:axId val="1325566208"/>
      </c:lineChart>
      <c:dateAx>
        <c:axId val="1325521920"/>
        <c:scaling>
          <c:orientation val="minMax"/>
        </c:scaling>
        <c:delete val="0"/>
        <c:axPos val="b"/>
        <c:numFmt formatCode="yyyy" sourceLinked="0"/>
        <c:majorTickMark val="out"/>
        <c:minorTickMark val="none"/>
        <c:tickLblPos val="low"/>
        <c:spPr>
          <a:ln w="3175">
            <a:solidFill>
              <a:srgbClr val="000000"/>
            </a:solidFill>
            <a:prstDash val="solid"/>
          </a:ln>
        </c:spPr>
        <c:txPr>
          <a:bodyPr rot="0" vert="horz"/>
          <a:lstStyle/>
          <a:p>
            <a:pPr>
              <a:defRPr/>
            </a:pPr>
            <a:endParaRPr lang="ru-RU"/>
          </a:p>
        </c:txPr>
        <c:crossAx val="1325566208"/>
        <c:crossesAt val="-50"/>
        <c:auto val="1"/>
        <c:lblOffset val="0"/>
        <c:baseTimeUnit val="months"/>
        <c:majorUnit val="24"/>
        <c:majorTimeUnit val="months"/>
        <c:minorUnit val="1"/>
      </c:dateAx>
      <c:valAx>
        <c:axId val="1325566208"/>
        <c:scaling>
          <c:orientation val="minMax"/>
        </c:scaling>
        <c:delete val="0"/>
        <c:axPos val="l"/>
        <c:majorGridlines>
          <c:spPr>
            <a:ln>
              <a:solidFill>
                <a:sysClr val="window" lastClr="FFFFFF">
                  <a:lumMod val="95000"/>
                </a:sysClr>
              </a:solidFill>
            </a:ln>
          </c:spPr>
        </c:majorGridlines>
        <c:title>
          <c:tx>
            <c:rich>
              <a:bodyPr rot="0" vert="horz"/>
              <a:lstStyle/>
              <a:p>
                <a:pPr>
                  <a:defRPr/>
                </a:pPr>
                <a:r>
                  <a:rPr lang="ru-RU"/>
                  <a:t>% </a:t>
                </a:r>
                <a:r>
                  <a:rPr lang="en-US"/>
                  <a:t>yoy</a:t>
                </a:r>
                <a:endParaRPr lang="ru-RU"/>
              </a:p>
            </c:rich>
          </c:tx>
          <c:layout>
            <c:manualLayout>
              <c:xMode val="edge"/>
              <c:yMode val="edge"/>
              <c:x val="5.9313194444444446E-2"/>
              <c:y val="2.3575000000000002E-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ru-RU"/>
          </a:p>
        </c:txPr>
        <c:crossAx val="1325521920"/>
        <c:crosses val="autoZero"/>
        <c:crossBetween val="between"/>
      </c:valAx>
      <c:spPr>
        <a:noFill/>
        <a:ln w="25400">
          <a:noFill/>
        </a:ln>
      </c:spPr>
    </c:plotArea>
    <c:legend>
      <c:legendPos val="b"/>
      <c:layout>
        <c:manualLayout>
          <c:xMode val="edge"/>
          <c:yMode val="edge"/>
          <c:x val="5.4819270833333336E-2"/>
          <c:y val="0.2534955128205128"/>
          <c:w val="0.81729878472222217"/>
          <c:h val="0.12496709401709402"/>
        </c:manualLayout>
      </c:layout>
      <c:overlay val="0"/>
      <c:spPr>
        <a:noFill/>
        <a:ln w="25400">
          <a:noFill/>
        </a:ln>
      </c:spPr>
      <c:txPr>
        <a:bodyPr/>
        <a:lstStyle/>
        <a:p>
          <a:pPr>
            <a:defRPr sz="1400"/>
          </a:pPr>
          <a:endParaRPr lang="ru-RU"/>
        </a:p>
      </c:txPr>
    </c:legend>
    <c:plotVisOnly val="1"/>
    <c:dispBlanksAs val="gap"/>
    <c:showDLblsOverMax val="0"/>
  </c:chart>
  <c:spPr>
    <a:solidFill>
      <a:sysClr val="window" lastClr="FFFFFF"/>
    </a:solidFill>
    <a:ln w="25400">
      <a:noFill/>
    </a:ln>
  </c:spPr>
  <c:txPr>
    <a:bodyPr/>
    <a:lstStyle/>
    <a:p>
      <a:pPr>
        <a:defRPr sz="1200" b="0" i="0" u="none" strike="noStrike" baseline="0">
          <a:solidFill>
            <a:srgbClr val="373737"/>
          </a:solidFill>
          <a:latin typeface="Arial" panose="020B0604020202020204" pitchFamily="34" charset="0"/>
          <a:ea typeface="Arial Cyr"/>
          <a:cs typeface="Arial" panose="020B0604020202020204" pitchFamily="34" charset="0"/>
        </a:defRPr>
      </a:pPr>
      <a:endParaRPr lang="ru-RU"/>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2670684682933155E-2"/>
          <c:y val="3.6598200312989049E-2"/>
          <c:w val="0.92930922523573445"/>
          <c:h val="0.90738438069715033"/>
        </c:manualLayout>
      </c:layout>
      <c:lineChart>
        <c:grouping val="standard"/>
        <c:varyColors val="0"/>
        <c:ser>
          <c:idx val="0"/>
          <c:order val="0"/>
          <c:tx>
            <c:strRef>
              <c:f>cpi!$G$3</c:f>
              <c:strCache>
                <c:ptCount val="1"/>
                <c:pt idx="0">
                  <c:v>China </c:v>
                </c:pt>
              </c:strCache>
            </c:strRef>
          </c:tx>
          <c:spPr>
            <a:ln>
              <a:solidFill>
                <a:srgbClr val="C00000"/>
              </a:solidFill>
            </a:ln>
          </c:spPr>
          <c:marker>
            <c:symbol val="none"/>
          </c:marker>
          <c:cat>
            <c:numRef>
              <c:f>cpi!$A$4:$A$289</c:f>
              <c:numCache>
                <c:formatCode>yyyy\-mm\-dd</c:formatCode>
                <c:ptCount val="286"/>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pt idx="199">
                  <c:v>42583</c:v>
                </c:pt>
                <c:pt idx="200">
                  <c:v>42614</c:v>
                </c:pt>
                <c:pt idx="201">
                  <c:v>42644</c:v>
                </c:pt>
                <c:pt idx="202">
                  <c:v>42675</c:v>
                </c:pt>
                <c:pt idx="203">
                  <c:v>42705</c:v>
                </c:pt>
                <c:pt idx="204">
                  <c:v>42736</c:v>
                </c:pt>
                <c:pt idx="205">
                  <c:v>42767</c:v>
                </c:pt>
                <c:pt idx="206">
                  <c:v>42795</c:v>
                </c:pt>
                <c:pt idx="207">
                  <c:v>42826</c:v>
                </c:pt>
                <c:pt idx="208">
                  <c:v>42856</c:v>
                </c:pt>
                <c:pt idx="209">
                  <c:v>42887</c:v>
                </c:pt>
                <c:pt idx="210">
                  <c:v>42917</c:v>
                </c:pt>
                <c:pt idx="211">
                  <c:v>42948</c:v>
                </c:pt>
                <c:pt idx="212">
                  <c:v>42979</c:v>
                </c:pt>
                <c:pt idx="213">
                  <c:v>43009</c:v>
                </c:pt>
                <c:pt idx="214">
                  <c:v>43040</c:v>
                </c:pt>
                <c:pt idx="215">
                  <c:v>43070</c:v>
                </c:pt>
                <c:pt idx="216">
                  <c:v>43101</c:v>
                </c:pt>
                <c:pt idx="217">
                  <c:v>43132</c:v>
                </c:pt>
                <c:pt idx="218">
                  <c:v>43160</c:v>
                </c:pt>
                <c:pt idx="219">
                  <c:v>43191</c:v>
                </c:pt>
                <c:pt idx="220">
                  <c:v>43221</c:v>
                </c:pt>
                <c:pt idx="221">
                  <c:v>43252</c:v>
                </c:pt>
                <c:pt idx="222">
                  <c:v>43282</c:v>
                </c:pt>
                <c:pt idx="223">
                  <c:v>43313</c:v>
                </c:pt>
                <c:pt idx="224">
                  <c:v>43344</c:v>
                </c:pt>
                <c:pt idx="225">
                  <c:v>43374</c:v>
                </c:pt>
                <c:pt idx="226">
                  <c:v>43405</c:v>
                </c:pt>
                <c:pt idx="227">
                  <c:v>43435</c:v>
                </c:pt>
                <c:pt idx="228">
                  <c:v>43466</c:v>
                </c:pt>
                <c:pt idx="229">
                  <c:v>43497</c:v>
                </c:pt>
                <c:pt idx="230">
                  <c:v>43525</c:v>
                </c:pt>
                <c:pt idx="231">
                  <c:v>43556</c:v>
                </c:pt>
                <c:pt idx="232">
                  <c:v>43586</c:v>
                </c:pt>
                <c:pt idx="233">
                  <c:v>43617</c:v>
                </c:pt>
                <c:pt idx="234">
                  <c:v>43647</c:v>
                </c:pt>
                <c:pt idx="235">
                  <c:v>43678</c:v>
                </c:pt>
                <c:pt idx="236">
                  <c:v>43709</c:v>
                </c:pt>
                <c:pt idx="237">
                  <c:v>43739</c:v>
                </c:pt>
                <c:pt idx="238">
                  <c:v>43770</c:v>
                </c:pt>
                <c:pt idx="239">
                  <c:v>43800</c:v>
                </c:pt>
                <c:pt idx="240">
                  <c:v>43831</c:v>
                </c:pt>
                <c:pt idx="241">
                  <c:v>43862</c:v>
                </c:pt>
                <c:pt idx="242">
                  <c:v>43891</c:v>
                </c:pt>
                <c:pt idx="243">
                  <c:v>43922</c:v>
                </c:pt>
                <c:pt idx="244">
                  <c:v>43952</c:v>
                </c:pt>
                <c:pt idx="245">
                  <c:v>43983</c:v>
                </c:pt>
                <c:pt idx="246">
                  <c:v>44013</c:v>
                </c:pt>
                <c:pt idx="247">
                  <c:v>44044</c:v>
                </c:pt>
                <c:pt idx="248">
                  <c:v>44075</c:v>
                </c:pt>
                <c:pt idx="249">
                  <c:v>44105</c:v>
                </c:pt>
                <c:pt idx="250">
                  <c:v>44136</c:v>
                </c:pt>
                <c:pt idx="251">
                  <c:v>44166</c:v>
                </c:pt>
                <c:pt idx="252">
                  <c:v>44197</c:v>
                </c:pt>
                <c:pt idx="253">
                  <c:v>44228</c:v>
                </c:pt>
                <c:pt idx="254">
                  <c:v>44256</c:v>
                </c:pt>
                <c:pt idx="255">
                  <c:v>44287</c:v>
                </c:pt>
                <c:pt idx="256">
                  <c:v>44317</c:v>
                </c:pt>
                <c:pt idx="257">
                  <c:v>44348</c:v>
                </c:pt>
                <c:pt idx="258">
                  <c:v>44378</c:v>
                </c:pt>
                <c:pt idx="259">
                  <c:v>44409</c:v>
                </c:pt>
                <c:pt idx="260">
                  <c:v>44440</c:v>
                </c:pt>
                <c:pt idx="261">
                  <c:v>44470</c:v>
                </c:pt>
                <c:pt idx="262">
                  <c:v>44501</c:v>
                </c:pt>
                <c:pt idx="263">
                  <c:v>44531</c:v>
                </c:pt>
                <c:pt idx="264">
                  <c:v>44562</c:v>
                </c:pt>
                <c:pt idx="265">
                  <c:v>44593</c:v>
                </c:pt>
                <c:pt idx="266">
                  <c:v>44621</c:v>
                </c:pt>
                <c:pt idx="267">
                  <c:v>44652</c:v>
                </c:pt>
                <c:pt idx="268">
                  <c:v>44682</c:v>
                </c:pt>
                <c:pt idx="269">
                  <c:v>44713</c:v>
                </c:pt>
                <c:pt idx="270">
                  <c:v>44743</c:v>
                </c:pt>
                <c:pt idx="271">
                  <c:v>44774</c:v>
                </c:pt>
                <c:pt idx="272">
                  <c:v>44805</c:v>
                </c:pt>
                <c:pt idx="273">
                  <c:v>44835</c:v>
                </c:pt>
                <c:pt idx="274">
                  <c:v>44866</c:v>
                </c:pt>
                <c:pt idx="275">
                  <c:v>44896</c:v>
                </c:pt>
                <c:pt idx="276">
                  <c:v>44927</c:v>
                </c:pt>
                <c:pt idx="277">
                  <c:v>44958</c:v>
                </c:pt>
                <c:pt idx="278">
                  <c:v>44986</c:v>
                </c:pt>
                <c:pt idx="279">
                  <c:v>45017</c:v>
                </c:pt>
                <c:pt idx="280">
                  <c:v>45047</c:v>
                </c:pt>
                <c:pt idx="281">
                  <c:v>45078</c:v>
                </c:pt>
                <c:pt idx="282">
                  <c:v>45108</c:v>
                </c:pt>
                <c:pt idx="283">
                  <c:v>45139</c:v>
                </c:pt>
                <c:pt idx="284">
                  <c:v>45170</c:v>
                </c:pt>
                <c:pt idx="285">
                  <c:v>45200</c:v>
                </c:pt>
              </c:numCache>
            </c:numRef>
          </c:cat>
          <c:val>
            <c:numRef>
              <c:f>cpi!$G$4:$G$289</c:f>
              <c:numCache>
                <c:formatCode>0.0</c:formatCode>
                <c:ptCount val="286"/>
                <c:pt idx="0">
                  <c:v>-0.2</c:v>
                </c:pt>
                <c:pt idx="1">
                  <c:v>0.7</c:v>
                </c:pt>
                <c:pt idx="2">
                  <c:v>-0.2</c:v>
                </c:pt>
                <c:pt idx="3">
                  <c:v>-0.3</c:v>
                </c:pt>
                <c:pt idx="4">
                  <c:v>0.1</c:v>
                </c:pt>
                <c:pt idx="5">
                  <c:v>0.5</c:v>
                </c:pt>
                <c:pt idx="6">
                  <c:v>0.5</c:v>
                </c:pt>
                <c:pt idx="7">
                  <c:v>0.3</c:v>
                </c:pt>
                <c:pt idx="8">
                  <c:v>0</c:v>
                </c:pt>
                <c:pt idx="9">
                  <c:v>0</c:v>
                </c:pt>
                <c:pt idx="10">
                  <c:v>1.3</c:v>
                </c:pt>
                <c:pt idx="11">
                  <c:v>1.5</c:v>
                </c:pt>
                <c:pt idx="12">
                  <c:v>1.2</c:v>
                </c:pt>
                <c:pt idx="13">
                  <c:v>0</c:v>
                </c:pt>
                <c:pt idx="14">
                  <c:v>0.8</c:v>
                </c:pt>
                <c:pt idx="15">
                  <c:v>1.6</c:v>
                </c:pt>
                <c:pt idx="16">
                  <c:v>1.7</c:v>
                </c:pt>
                <c:pt idx="17">
                  <c:v>1.4</c:v>
                </c:pt>
                <c:pt idx="18">
                  <c:v>1.5</c:v>
                </c:pt>
                <c:pt idx="19">
                  <c:v>1</c:v>
                </c:pt>
                <c:pt idx="20">
                  <c:v>-0.1</c:v>
                </c:pt>
                <c:pt idx="21">
                  <c:v>0.2</c:v>
                </c:pt>
                <c:pt idx="22">
                  <c:v>-0.3</c:v>
                </c:pt>
                <c:pt idx="23">
                  <c:v>-0.3</c:v>
                </c:pt>
                <c:pt idx="24">
                  <c:v>-1.01189</c:v>
                </c:pt>
                <c:pt idx="25">
                  <c:v>-2.3E-2</c:v>
                </c:pt>
                <c:pt idx="26">
                  <c:v>-0.72706000000000004</c:v>
                </c:pt>
                <c:pt idx="27">
                  <c:v>-1.22244</c:v>
                </c:pt>
                <c:pt idx="28">
                  <c:v>-1.02389</c:v>
                </c:pt>
                <c:pt idx="29">
                  <c:v>-0.72336</c:v>
                </c:pt>
                <c:pt idx="30">
                  <c:v>-0.92291000000000001</c:v>
                </c:pt>
                <c:pt idx="31">
                  <c:v>-0.72494999999999998</c:v>
                </c:pt>
                <c:pt idx="32">
                  <c:v>-0.62656000000000001</c:v>
                </c:pt>
                <c:pt idx="33">
                  <c:v>-0.72563999999999995</c:v>
                </c:pt>
                <c:pt idx="34">
                  <c:v>-0.62616000000000005</c:v>
                </c:pt>
                <c:pt idx="35">
                  <c:v>-0.42760999999999999</c:v>
                </c:pt>
                <c:pt idx="36">
                  <c:v>0.36658000000000002</c:v>
                </c:pt>
                <c:pt idx="37">
                  <c:v>0.16803000000000001</c:v>
                </c:pt>
                <c:pt idx="38">
                  <c:v>0.87844</c:v>
                </c:pt>
                <c:pt idx="39">
                  <c:v>0.97963</c:v>
                </c:pt>
                <c:pt idx="40">
                  <c:v>0.57448999999999995</c:v>
                </c:pt>
                <c:pt idx="41">
                  <c:v>0.27002999999999999</c:v>
                </c:pt>
                <c:pt idx="42">
                  <c:v>0.47198000000000001</c:v>
                </c:pt>
                <c:pt idx="43">
                  <c:v>0.87266999999999995</c:v>
                </c:pt>
                <c:pt idx="44">
                  <c:v>1.0724199999999999</c:v>
                </c:pt>
                <c:pt idx="45">
                  <c:v>1.77851</c:v>
                </c:pt>
                <c:pt idx="46">
                  <c:v>2.8991899999999999</c:v>
                </c:pt>
                <c:pt idx="47">
                  <c:v>3.2069700000000001</c:v>
                </c:pt>
                <c:pt idx="48">
                  <c:v>3.2069700000000001</c:v>
                </c:pt>
                <c:pt idx="49">
                  <c:v>2.08182</c:v>
                </c:pt>
                <c:pt idx="50">
                  <c:v>3.0061</c:v>
                </c:pt>
                <c:pt idx="51">
                  <c:v>3.7285900000000001</c:v>
                </c:pt>
                <c:pt idx="52">
                  <c:v>4.3553499999999996</c:v>
                </c:pt>
                <c:pt idx="53">
                  <c:v>4.8834600000000004</c:v>
                </c:pt>
                <c:pt idx="54">
                  <c:v>5.1996900000000004</c:v>
                </c:pt>
                <c:pt idx="55">
                  <c:v>5.1996900000000004</c:v>
                </c:pt>
                <c:pt idx="56">
                  <c:v>5.0957400000000002</c:v>
                </c:pt>
                <c:pt idx="57">
                  <c:v>4.1583199999999998</c:v>
                </c:pt>
                <c:pt idx="58">
                  <c:v>2.8176600000000001</c:v>
                </c:pt>
                <c:pt idx="59">
                  <c:v>2.3066399999999998</c:v>
                </c:pt>
                <c:pt idx="60">
                  <c:v>1.80067</c:v>
                </c:pt>
                <c:pt idx="61">
                  <c:v>3.84077</c:v>
                </c:pt>
                <c:pt idx="62">
                  <c:v>2.5984099999999999</c:v>
                </c:pt>
                <c:pt idx="63">
                  <c:v>1.7817000000000001</c:v>
                </c:pt>
                <c:pt idx="64">
                  <c:v>1.6798200000000001</c:v>
                </c:pt>
                <c:pt idx="65">
                  <c:v>1.57742</c:v>
                </c:pt>
                <c:pt idx="66">
                  <c:v>1.7809900000000001</c:v>
                </c:pt>
                <c:pt idx="67">
                  <c:v>1.27562</c:v>
                </c:pt>
                <c:pt idx="68">
                  <c:v>0.87492000000000003</c:v>
                </c:pt>
                <c:pt idx="69">
                  <c:v>1.2784199999999999</c:v>
                </c:pt>
                <c:pt idx="70">
                  <c:v>1.2784199999999999</c:v>
                </c:pt>
                <c:pt idx="71">
                  <c:v>1.58195</c:v>
                </c:pt>
                <c:pt idx="72">
                  <c:v>2.2887900000000001</c:v>
                </c:pt>
                <c:pt idx="73">
                  <c:v>0.98253999999999997</c:v>
                </c:pt>
                <c:pt idx="74">
                  <c:v>0.98253999999999997</c:v>
                </c:pt>
                <c:pt idx="75">
                  <c:v>1.48898</c:v>
                </c:pt>
                <c:pt idx="76">
                  <c:v>1.59067</c:v>
                </c:pt>
                <c:pt idx="77">
                  <c:v>1.8978999999999999</c:v>
                </c:pt>
                <c:pt idx="78">
                  <c:v>1.5922000000000001</c:v>
                </c:pt>
                <c:pt idx="79">
                  <c:v>1.6935899999999999</c:v>
                </c:pt>
                <c:pt idx="80">
                  <c:v>1.4916199999999999</c:v>
                </c:pt>
                <c:pt idx="81">
                  <c:v>1.1883600000000001</c:v>
                </c:pt>
                <c:pt idx="82">
                  <c:v>1.79732</c:v>
                </c:pt>
                <c:pt idx="83">
                  <c:v>2.8112300000000001</c:v>
                </c:pt>
                <c:pt idx="84">
                  <c:v>2.20228</c:v>
                </c:pt>
                <c:pt idx="85">
                  <c:v>2.71075</c:v>
                </c:pt>
                <c:pt idx="86">
                  <c:v>3.3326099999999999</c:v>
                </c:pt>
                <c:pt idx="87">
                  <c:v>3.0232299999999999</c:v>
                </c:pt>
                <c:pt idx="88">
                  <c:v>3.43574</c:v>
                </c:pt>
                <c:pt idx="89">
                  <c:v>4.37134</c:v>
                </c:pt>
                <c:pt idx="90">
                  <c:v>5.6275599999999999</c:v>
                </c:pt>
                <c:pt idx="91">
                  <c:v>6.5753700000000004</c:v>
                </c:pt>
                <c:pt idx="92">
                  <c:v>6.3632799999999996</c:v>
                </c:pt>
                <c:pt idx="93">
                  <c:v>6.5757899999999996</c:v>
                </c:pt>
                <c:pt idx="94">
                  <c:v>7.00082</c:v>
                </c:pt>
                <c:pt idx="95">
                  <c:v>6.5787300000000002</c:v>
                </c:pt>
                <c:pt idx="96">
                  <c:v>7.10792</c:v>
                </c:pt>
                <c:pt idx="97">
                  <c:v>8.8046799999999994</c:v>
                </c:pt>
                <c:pt idx="98">
                  <c:v>8.36815</c:v>
                </c:pt>
                <c:pt idx="99">
                  <c:v>8.5851000000000006</c:v>
                </c:pt>
                <c:pt idx="100">
                  <c:v>7.82728</c:v>
                </c:pt>
                <c:pt idx="101">
                  <c:v>7.1828900000000004</c:v>
                </c:pt>
                <c:pt idx="102">
                  <c:v>6.3330799999999998</c:v>
                </c:pt>
                <c:pt idx="103">
                  <c:v>4.9671399999999997</c:v>
                </c:pt>
                <c:pt idx="104">
                  <c:v>4.6531799999999999</c:v>
                </c:pt>
                <c:pt idx="105">
                  <c:v>4.0271400000000002</c:v>
                </c:pt>
                <c:pt idx="106">
                  <c:v>2.4775800000000001</c:v>
                </c:pt>
                <c:pt idx="107">
                  <c:v>1.2600199999999999</c:v>
                </c:pt>
                <c:pt idx="108">
                  <c:v>0.95984000000000003</c:v>
                </c:pt>
                <c:pt idx="109">
                  <c:v>-1.59859</c:v>
                </c:pt>
                <c:pt idx="110">
                  <c:v>-1.20221</c:v>
                </c:pt>
                <c:pt idx="111">
                  <c:v>-1.49831</c:v>
                </c:pt>
                <c:pt idx="112">
                  <c:v>-1.39941</c:v>
                </c:pt>
                <c:pt idx="113">
                  <c:v>-1.69581</c:v>
                </c:pt>
                <c:pt idx="114">
                  <c:v>-1.7940100000000001</c:v>
                </c:pt>
                <c:pt idx="115">
                  <c:v>-1.2041900000000001</c:v>
                </c:pt>
                <c:pt idx="116">
                  <c:v>-0.80901000000000001</c:v>
                </c:pt>
                <c:pt idx="117">
                  <c:v>-0.60758999999999996</c:v>
                </c:pt>
                <c:pt idx="118">
                  <c:v>0.49547999999999998</c:v>
                </c:pt>
                <c:pt idx="119">
                  <c:v>1.7039200000000001</c:v>
                </c:pt>
                <c:pt idx="120">
                  <c:v>1.3955900000000001</c:v>
                </c:pt>
                <c:pt idx="121">
                  <c:v>2.6182300000000001</c:v>
                </c:pt>
                <c:pt idx="122">
                  <c:v>2.2012299999999998</c:v>
                </c:pt>
                <c:pt idx="123">
                  <c:v>2.6150199999999999</c:v>
                </c:pt>
                <c:pt idx="124">
                  <c:v>2.8231799999999998</c:v>
                </c:pt>
                <c:pt idx="125">
                  <c:v>2.7163400000000002</c:v>
                </c:pt>
                <c:pt idx="126">
                  <c:v>3.1292200000000001</c:v>
                </c:pt>
                <c:pt idx="127">
                  <c:v>3.2282000000000002</c:v>
                </c:pt>
                <c:pt idx="128">
                  <c:v>3.4349099999999999</c:v>
                </c:pt>
                <c:pt idx="129">
                  <c:v>4.2631399999999999</c:v>
                </c:pt>
                <c:pt idx="130">
                  <c:v>5.0920899999999998</c:v>
                </c:pt>
                <c:pt idx="131">
                  <c:v>4.5713299999999997</c:v>
                </c:pt>
                <c:pt idx="132">
                  <c:v>4.9954900000000002</c:v>
                </c:pt>
                <c:pt idx="133">
                  <c:v>5.0708299999999999</c:v>
                </c:pt>
                <c:pt idx="134">
                  <c:v>5.60459</c:v>
                </c:pt>
                <c:pt idx="135">
                  <c:v>5.4955100000000003</c:v>
                </c:pt>
                <c:pt idx="136">
                  <c:v>5.7048199999999998</c:v>
                </c:pt>
                <c:pt idx="137">
                  <c:v>6.6666999999999996</c:v>
                </c:pt>
                <c:pt idx="138">
                  <c:v>6.7057000000000002</c:v>
                </c:pt>
                <c:pt idx="139">
                  <c:v>6.3743600000000002</c:v>
                </c:pt>
                <c:pt idx="140">
                  <c:v>6.2380699999999996</c:v>
                </c:pt>
                <c:pt idx="141">
                  <c:v>5.5961999999999996</c:v>
                </c:pt>
                <c:pt idx="142">
                  <c:v>4.2528199999999998</c:v>
                </c:pt>
                <c:pt idx="143">
                  <c:v>4.0273199999999996</c:v>
                </c:pt>
                <c:pt idx="144">
                  <c:v>4.5410599999999999</c:v>
                </c:pt>
                <c:pt idx="145">
                  <c:v>3.1260500000000002</c:v>
                </c:pt>
                <c:pt idx="146">
                  <c:v>3.5246499999999998</c:v>
                </c:pt>
                <c:pt idx="147">
                  <c:v>3.3251499999999998</c:v>
                </c:pt>
                <c:pt idx="148">
                  <c:v>2.9352499999999999</c:v>
                </c:pt>
                <c:pt idx="149">
                  <c:v>2.05558</c:v>
                </c:pt>
                <c:pt idx="150">
                  <c:v>1.70455</c:v>
                </c:pt>
                <c:pt idx="151">
                  <c:v>2.0780699999999999</c:v>
                </c:pt>
                <c:pt idx="152">
                  <c:v>1.91021</c:v>
                </c:pt>
                <c:pt idx="153">
                  <c:v>1.70814</c:v>
                </c:pt>
                <c:pt idx="154">
                  <c:v>2.0696099999999999</c:v>
                </c:pt>
                <c:pt idx="155">
                  <c:v>2.5313099999999999</c:v>
                </c:pt>
                <c:pt idx="156">
                  <c:v>2.0248400000000002</c:v>
                </c:pt>
                <c:pt idx="157">
                  <c:v>3.24214</c:v>
                </c:pt>
                <c:pt idx="158">
                  <c:v>2.1249099999999999</c:v>
                </c:pt>
                <c:pt idx="159">
                  <c:v>2.4213900000000002</c:v>
                </c:pt>
                <c:pt idx="160">
                  <c:v>2.0910000000000002</c:v>
                </c:pt>
                <c:pt idx="161">
                  <c:v>2.66187</c:v>
                </c:pt>
                <c:pt idx="162">
                  <c:v>2.6677</c:v>
                </c:pt>
                <c:pt idx="163">
                  <c:v>2.5153500000000002</c:v>
                </c:pt>
                <c:pt idx="164">
                  <c:v>3.0162</c:v>
                </c:pt>
                <c:pt idx="165">
                  <c:v>3.22749</c:v>
                </c:pt>
                <c:pt idx="166">
                  <c:v>2.952</c:v>
                </c:pt>
                <c:pt idx="167">
                  <c:v>2.5065900000000001</c:v>
                </c:pt>
                <c:pt idx="168">
                  <c:v>2.5070000000000001</c:v>
                </c:pt>
                <c:pt idx="169">
                  <c:v>1.9062300000000001</c:v>
                </c:pt>
                <c:pt idx="170">
                  <c:v>2.3119900000000002</c:v>
                </c:pt>
                <c:pt idx="171">
                  <c:v>1.6958800000000001</c:v>
                </c:pt>
                <c:pt idx="172">
                  <c:v>2.4128400000000001</c:v>
                </c:pt>
                <c:pt idx="173">
                  <c:v>2.3086500000000001</c:v>
                </c:pt>
                <c:pt idx="174">
                  <c:v>2.2075900000000002</c:v>
                </c:pt>
                <c:pt idx="175">
                  <c:v>1.9031499999999999</c:v>
                </c:pt>
                <c:pt idx="176">
                  <c:v>1.6111200000000001</c:v>
                </c:pt>
                <c:pt idx="177">
                  <c:v>1.50919</c:v>
                </c:pt>
                <c:pt idx="178">
                  <c:v>1.30297</c:v>
                </c:pt>
                <c:pt idx="179">
                  <c:v>1.4097</c:v>
                </c:pt>
                <c:pt idx="180">
                  <c:v>0.70994000000000002</c:v>
                </c:pt>
                <c:pt idx="181">
                  <c:v>1.4127099999999999</c:v>
                </c:pt>
                <c:pt idx="182">
                  <c:v>1.31846</c:v>
                </c:pt>
                <c:pt idx="183">
                  <c:v>1.52749</c:v>
                </c:pt>
                <c:pt idx="184">
                  <c:v>1.22075</c:v>
                </c:pt>
                <c:pt idx="185">
                  <c:v>1.3238300000000001</c:v>
                </c:pt>
                <c:pt idx="186">
                  <c:v>1.73116</c:v>
                </c:pt>
                <c:pt idx="187">
                  <c:v>2.0325199999999999</c:v>
                </c:pt>
                <c:pt idx="188">
                  <c:v>1.6177999999999999</c:v>
                </c:pt>
                <c:pt idx="189">
                  <c:v>1.2133499999999999</c:v>
                </c:pt>
                <c:pt idx="190">
                  <c:v>1.5213000000000001</c:v>
                </c:pt>
                <c:pt idx="191">
                  <c:v>1.61616</c:v>
                </c:pt>
                <c:pt idx="192">
                  <c:v>1.8126899999999999</c:v>
                </c:pt>
                <c:pt idx="193">
                  <c:v>2.1890499999999999</c:v>
                </c:pt>
                <c:pt idx="194">
                  <c:v>2.3022999999999998</c:v>
                </c:pt>
                <c:pt idx="195">
                  <c:v>2.3069199999999999</c:v>
                </c:pt>
                <c:pt idx="196">
                  <c:v>2.1105499999999999</c:v>
                </c:pt>
                <c:pt idx="197">
                  <c:v>1.9095500000000001</c:v>
                </c:pt>
                <c:pt idx="198">
                  <c:v>1.7017</c:v>
                </c:pt>
                <c:pt idx="199">
                  <c:v>1.2948200000000001</c:v>
                </c:pt>
                <c:pt idx="200">
                  <c:v>1.89055</c:v>
                </c:pt>
                <c:pt idx="201">
                  <c:v>2.1978</c:v>
                </c:pt>
                <c:pt idx="202">
                  <c:v>2.2976999999999999</c:v>
                </c:pt>
                <c:pt idx="203">
                  <c:v>1.98807</c:v>
                </c:pt>
                <c:pt idx="204">
                  <c:v>2.5717099999999999</c:v>
                </c:pt>
                <c:pt idx="205">
                  <c:v>0.77897000000000005</c:v>
                </c:pt>
                <c:pt idx="206">
                  <c:v>0.97846999999999995</c:v>
                </c:pt>
                <c:pt idx="207">
                  <c:v>1.1764699999999999</c:v>
                </c:pt>
                <c:pt idx="208">
                  <c:v>1.67323</c:v>
                </c:pt>
                <c:pt idx="209">
                  <c:v>1.6765300000000001</c:v>
                </c:pt>
                <c:pt idx="210">
                  <c:v>1.37795</c:v>
                </c:pt>
                <c:pt idx="211">
                  <c:v>1.7699100000000001</c:v>
                </c:pt>
                <c:pt idx="212">
                  <c:v>1.6601600000000001</c:v>
                </c:pt>
                <c:pt idx="213">
                  <c:v>1.85728</c:v>
                </c:pt>
                <c:pt idx="214">
                  <c:v>1.7578100000000001</c:v>
                </c:pt>
                <c:pt idx="215">
                  <c:v>1.85185</c:v>
                </c:pt>
                <c:pt idx="216">
                  <c:v>1.44648</c:v>
                </c:pt>
                <c:pt idx="217">
                  <c:v>2.8985500000000002</c:v>
                </c:pt>
                <c:pt idx="218">
                  <c:v>2.0348799999999998</c:v>
                </c:pt>
                <c:pt idx="219">
                  <c:v>1.8410899999999999</c:v>
                </c:pt>
                <c:pt idx="220">
                  <c:v>1.5488900000000001</c:v>
                </c:pt>
                <c:pt idx="221">
                  <c:v>1.7458800000000001</c:v>
                </c:pt>
                <c:pt idx="222">
                  <c:v>2.13592</c:v>
                </c:pt>
                <c:pt idx="223">
                  <c:v>2.3188399999999998</c:v>
                </c:pt>
                <c:pt idx="224">
                  <c:v>2.4015399999999998</c:v>
                </c:pt>
                <c:pt idx="225">
                  <c:v>2.4952000000000001</c:v>
                </c:pt>
                <c:pt idx="226">
                  <c:v>2.1113200000000001</c:v>
                </c:pt>
                <c:pt idx="227">
                  <c:v>1.91388</c:v>
                </c:pt>
                <c:pt idx="228">
                  <c:v>1.7110300000000001</c:v>
                </c:pt>
                <c:pt idx="229">
                  <c:v>1.5023500000000001</c:v>
                </c:pt>
                <c:pt idx="230">
                  <c:v>2.2791999999999999</c:v>
                </c:pt>
                <c:pt idx="231">
                  <c:v>2.5689799999999998</c:v>
                </c:pt>
                <c:pt idx="232">
                  <c:v>2.7645400000000002</c:v>
                </c:pt>
                <c:pt idx="233">
                  <c:v>2.6692100000000001</c:v>
                </c:pt>
                <c:pt idx="234">
                  <c:v>2.75665</c:v>
                </c:pt>
                <c:pt idx="235">
                  <c:v>2.8328600000000002</c:v>
                </c:pt>
                <c:pt idx="236">
                  <c:v>3.0018799999999999</c:v>
                </c:pt>
                <c:pt idx="237">
                  <c:v>3.74532</c:v>
                </c:pt>
                <c:pt idx="238">
                  <c:v>4.5112800000000002</c:v>
                </c:pt>
                <c:pt idx="239">
                  <c:v>4.4131499999999999</c:v>
                </c:pt>
                <c:pt idx="240">
                  <c:v>5.42056</c:v>
                </c:pt>
                <c:pt idx="241">
                  <c:v>5.1803900000000001</c:v>
                </c:pt>
                <c:pt idx="242">
                  <c:v>4.2711199999999998</c:v>
                </c:pt>
                <c:pt idx="243">
                  <c:v>3.24675</c:v>
                </c:pt>
                <c:pt idx="244">
                  <c:v>2.41187</c:v>
                </c:pt>
                <c:pt idx="245">
                  <c:v>2.5069599999999999</c:v>
                </c:pt>
                <c:pt idx="246">
                  <c:v>1.75763</c:v>
                </c:pt>
                <c:pt idx="247">
                  <c:v>2.3875099999999998</c:v>
                </c:pt>
                <c:pt idx="248">
                  <c:v>1.7304200000000001</c:v>
                </c:pt>
                <c:pt idx="249">
                  <c:v>0.54152</c:v>
                </c:pt>
                <c:pt idx="250">
                  <c:v>-0.44963999999999998</c:v>
                </c:pt>
                <c:pt idx="251">
                  <c:v>0.26978000000000002</c:v>
                </c:pt>
                <c:pt idx="252">
                  <c:v>-0.22162999999999999</c:v>
                </c:pt>
                <c:pt idx="253">
                  <c:v>-0.42280000000000001</c:v>
                </c:pt>
                <c:pt idx="254">
                  <c:v>0.32195000000000001</c:v>
                </c:pt>
                <c:pt idx="255">
                  <c:v>0.92264999999999997</c:v>
                </c:pt>
                <c:pt idx="256">
                  <c:v>1.64435</c:v>
                </c:pt>
                <c:pt idx="257">
                  <c:v>1.2402</c:v>
                </c:pt>
                <c:pt idx="258">
                  <c:v>1.91256</c:v>
                </c:pt>
                <c:pt idx="259">
                  <c:v>0.64158000000000004</c:v>
                </c:pt>
                <c:pt idx="260">
                  <c:v>0.46138000000000001</c:v>
                </c:pt>
                <c:pt idx="261">
                  <c:v>1.4328399999999999</c:v>
                </c:pt>
                <c:pt idx="262">
                  <c:v>2.4773000000000001</c:v>
                </c:pt>
                <c:pt idx="263">
                  <c:v>1.44191</c:v>
                </c:pt>
                <c:pt idx="264">
                  <c:v>0.99107999999999996</c:v>
                </c:pt>
                <c:pt idx="265">
                  <c:v>0.98521999999999998</c:v>
                </c:pt>
                <c:pt idx="266">
                  <c:v>1.48515</c:v>
                </c:pt>
                <c:pt idx="267">
                  <c:v>2.1847099999999999</c:v>
                </c:pt>
                <c:pt idx="268">
                  <c:v>2.0874799999999998</c:v>
                </c:pt>
                <c:pt idx="269">
                  <c:v>2.4950100000000002</c:v>
                </c:pt>
                <c:pt idx="270">
                  <c:v>2.6865700000000001</c:v>
                </c:pt>
                <c:pt idx="271">
                  <c:v>2.48509</c:v>
                </c:pt>
                <c:pt idx="272">
                  <c:v>2.7833000000000001</c:v>
                </c:pt>
                <c:pt idx="273">
                  <c:v>2.17177</c:v>
                </c:pt>
                <c:pt idx="274">
                  <c:v>1.57325</c:v>
                </c:pt>
                <c:pt idx="275">
                  <c:v>1.77515</c:v>
                </c:pt>
                <c:pt idx="276">
                  <c:v>2.0608399999999998</c:v>
                </c:pt>
                <c:pt idx="277">
                  <c:v>0.97560999999999998</c:v>
                </c:pt>
                <c:pt idx="278">
                  <c:v>0.68293000000000004</c:v>
                </c:pt>
                <c:pt idx="279">
                  <c:v>9.7180000000000002E-2</c:v>
                </c:pt>
                <c:pt idx="280">
                  <c:v>0.19474</c:v>
                </c:pt>
                <c:pt idx="281">
                  <c:v>0</c:v>
                </c:pt>
                <c:pt idx="282">
                  <c:v>-0.29070000000000001</c:v>
                </c:pt>
                <c:pt idx="283">
                  <c:v>9.6990000000000007E-2</c:v>
                </c:pt>
                <c:pt idx="284">
                  <c:v>0</c:v>
                </c:pt>
              </c:numCache>
            </c:numRef>
          </c:val>
          <c:smooth val="0"/>
          <c:extLst>
            <c:ext xmlns:c16="http://schemas.microsoft.com/office/drawing/2014/chart" uri="{C3380CC4-5D6E-409C-BE32-E72D297353CC}">
              <c16:uniqueId val="{00000000-1319-4D2C-B974-861928016DC7}"/>
            </c:ext>
          </c:extLst>
        </c:ser>
        <c:ser>
          <c:idx val="1"/>
          <c:order val="1"/>
          <c:tx>
            <c:strRef>
              <c:f>cpi!$H$3</c:f>
              <c:strCache>
                <c:ptCount val="1"/>
                <c:pt idx="0">
                  <c:v>India</c:v>
                </c:pt>
              </c:strCache>
            </c:strRef>
          </c:tx>
          <c:spPr>
            <a:ln>
              <a:solidFill>
                <a:srgbClr val="006632"/>
              </a:solidFill>
            </a:ln>
          </c:spPr>
          <c:marker>
            <c:symbol val="none"/>
          </c:marker>
          <c:cat>
            <c:numRef>
              <c:f>cpi!$A$4:$A$289</c:f>
              <c:numCache>
                <c:formatCode>yyyy\-mm\-dd</c:formatCode>
                <c:ptCount val="286"/>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pt idx="199">
                  <c:v>42583</c:v>
                </c:pt>
                <c:pt idx="200">
                  <c:v>42614</c:v>
                </c:pt>
                <c:pt idx="201">
                  <c:v>42644</c:v>
                </c:pt>
                <c:pt idx="202">
                  <c:v>42675</c:v>
                </c:pt>
                <c:pt idx="203">
                  <c:v>42705</c:v>
                </c:pt>
                <c:pt idx="204">
                  <c:v>42736</c:v>
                </c:pt>
                <c:pt idx="205">
                  <c:v>42767</c:v>
                </c:pt>
                <c:pt idx="206">
                  <c:v>42795</c:v>
                </c:pt>
                <c:pt idx="207">
                  <c:v>42826</c:v>
                </c:pt>
                <c:pt idx="208">
                  <c:v>42856</c:v>
                </c:pt>
                <c:pt idx="209">
                  <c:v>42887</c:v>
                </c:pt>
                <c:pt idx="210">
                  <c:v>42917</c:v>
                </c:pt>
                <c:pt idx="211">
                  <c:v>42948</c:v>
                </c:pt>
                <c:pt idx="212">
                  <c:v>42979</c:v>
                </c:pt>
                <c:pt idx="213">
                  <c:v>43009</c:v>
                </c:pt>
                <c:pt idx="214">
                  <c:v>43040</c:v>
                </c:pt>
                <c:pt idx="215">
                  <c:v>43070</c:v>
                </c:pt>
                <c:pt idx="216">
                  <c:v>43101</c:v>
                </c:pt>
                <c:pt idx="217">
                  <c:v>43132</c:v>
                </c:pt>
                <c:pt idx="218">
                  <c:v>43160</c:v>
                </c:pt>
                <c:pt idx="219">
                  <c:v>43191</c:v>
                </c:pt>
                <c:pt idx="220">
                  <c:v>43221</c:v>
                </c:pt>
                <c:pt idx="221">
                  <c:v>43252</c:v>
                </c:pt>
                <c:pt idx="222">
                  <c:v>43282</c:v>
                </c:pt>
                <c:pt idx="223">
                  <c:v>43313</c:v>
                </c:pt>
                <c:pt idx="224">
                  <c:v>43344</c:v>
                </c:pt>
                <c:pt idx="225">
                  <c:v>43374</c:v>
                </c:pt>
                <c:pt idx="226">
                  <c:v>43405</c:v>
                </c:pt>
                <c:pt idx="227">
                  <c:v>43435</c:v>
                </c:pt>
                <c:pt idx="228">
                  <c:v>43466</c:v>
                </c:pt>
                <c:pt idx="229">
                  <c:v>43497</c:v>
                </c:pt>
                <c:pt idx="230">
                  <c:v>43525</c:v>
                </c:pt>
                <c:pt idx="231">
                  <c:v>43556</c:v>
                </c:pt>
                <c:pt idx="232">
                  <c:v>43586</c:v>
                </c:pt>
                <c:pt idx="233">
                  <c:v>43617</c:v>
                </c:pt>
                <c:pt idx="234">
                  <c:v>43647</c:v>
                </c:pt>
                <c:pt idx="235">
                  <c:v>43678</c:v>
                </c:pt>
                <c:pt idx="236">
                  <c:v>43709</c:v>
                </c:pt>
                <c:pt idx="237">
                  <c:v>43739</c:v>
                </c:pt>
                <c:pt idx="238">
                  <c:v>43770</c:v>
                </c:pt>
                <c:pt idx="239">
                  <c:v>43800</c:v>
                </c:pt>
                <c:pt idx="240">
                  <c:v>43831</c:v>
                </c:pt>
                <c:pt idx="241">
                  <c:v>43862</c:v>
                </c:pt>
                <c:pt idx="242">
                  <c:v>43891</c:v>
                </c:pt>
                <c:pt idx="243">
                  <c:v>43922</c:v>
                </c:pt>
                <c:pt idx="244">
                  <c:v>43952</c:v>
                </c:pt>
                <c:pt idx="245">
                  <c:v>43983</c:v>
                </c:pt>
                <c:pt idx="246">
                  <c:v>44013</c:v>
                </c:pt>
                <c:pt idx="247">
                  <c:v>44044</c:v>
                </c:pt>
                <c:pt idx="248">
                  <c:v>44075</c:v>
                </c:pt>
                <c:pt idx="249">
                  <c:v>44105</c:v>
                </c:pt>
                <c:pt idx="250">
                  <c:v>44136</c:v>
                </c:pt>
                <c:pt idx="251">
                  <c:v>44166</c:v>
                </c:pt>
                <c:pt idx="252">
                  <c:v>44197</c:v>
                </c:pt>
                <c:pt idx="253">
                  <c:v>44228</c:v>
                </c:pt>
                <c:pt idx="254">
                  <c:v>44256</c:v>
                </c:pt>
                <c:pt idx="255">
                  <c:v>44287</c:v>
                </c:pt>
                <c:pt idx="256">
                  <c:v>44317</c:v>
                </c:pt>
                <c:pt idx="257">
                  <c:v>44348</c:v>
                </c:pt>
                <c:pt idx="258">
                  <c:v>44378</c:v>
                </c:pt>
                <c:pt idx="259">
                  <c:v>44409</c:v>
                </c:pt>
                <c:pt idx="260">
                  <c:v>44440</c:v>
                </c:pt>
                <c:pt idx="261">
                  <c:v>44470</c:v>
                </c:pt>
                <c:pt idx="262">
                  <c:v>44501</c:v>
                </c:pt>
                <c:pt idx="263">
                  <c:v>44531</c:v>
                </c:pt>
                <c:pt idx="264">
                  <c:v>44562</c:v>
                </c:pt>
                <c:pt idx="265">
                  <c:v>44593</c:v>
                </c:pt>
                <c:pt idx="266">
                  <c:v>44621</c:v>
                </c:pt>
                <c:pt idx="267">
                  <c:v>44652</c:v>
                </c:pt>
                <c:pt idx="268">
                  <c:v>44682</c:v>
                </c:pt>
                <c:pt idx="269">
                  <c:v>44713</c:v>
                </c:pt>
                <c:pt idx="270">
                  <c:v>44743</c:v>
                </c:pt>
                <c:pt idx="271">
                  <c:v>44774</c:v>
                </c:pt>
                <c:pt idx="272">
                  <c:v>44805</c:v>
                </c:pt>
                <c:pt idx="273">
                  <c:v>44835</c:v>
                </c:pt>
                <c:pt idx="274">
                  <c:v>44866</c:v>
                </c:pt>
                <c:pt idx="275">
                  <c:v>44896</c:v>
                </c:pt>
                <c:pt idx="276">
                  <c:v>44927</c:v>
                </c:pt>
                <c:pt idx="277">
                  <c:v>44958</c:v>
                </c:pt>
                <c:pt idx="278">
                  <c:v>44986</c:v>
                </c:pt>
                <c:pt idx="279">
                  <c:v>45017</c:v>
                </c:pt>
                <c:pt idx="280">
                  <c:v>45047</c:v>
                </c:pt>
                <c:pt idx="281">
                  <c:v>45078</c:v>
                </c:pt>
                <c:pt idx="282">
                  <c:v>45108</c:v>
                </c:pt>
                <c:pt idx="283">
                  <c:v>45139</c:v>
                </c:pt>
                <c:pt idx="284">
                  <c:v>45170</c:v>
                </c:pt>
                <c:pt idx="285">
                  <c:v>45200</c:v>
                </c:pt>
              </c:numCache>
            </c:numRef>
          </c:cat>
          <c:val>
            <c:numRef>
              <c:f>cpi!$H$4:$H$289</c:f>
              <c:numCache>
                <c:formatCode>0.0</c:formatCode>
                <c:ptCount val="286"/>
                <c:pt idx="0">
                  <c:v>2.6190500000000001</c:v>
                </c:pt>
                <c:pt idx="1">
                  <c:v>3.6144599999999998</c:v>
                </c:pt>
                <c:pt idx="2">
                  <c:v>4.8309199999999999</c:v>
                </c:pt>
                <c:pt idx="3">
                  <c:v>5.5421699999999996</c:v>
                </c:pt>
                <c:pt idx="4">
                  <c:v>5.0119300000000004</c:v>
                </c:pt>
                <c:pt idx="5">
                  <c:v>5.2381000000000002</c:v>
                </c:pt>
                <c:pt idx="6">
                  <c:v>4.9528299999999996</c:v>
                </c:pt>
                <c:pt idx="7">
                  <c:v>3.9906100000000002</c:v>
                </c:pt>
                <c:pt idx="8">
                  <c:v>3.4965000000000002</c:v>
                </c:pt>
                <c:pt idx="9">
                  <c:v>2.746</c:v>
                </c:pt>
                <c:pt idx="10">
                  <c:v>2.7397300000000002</c:v>
                </c:pt>
                <c:pt idx="11">
                  <c:v>3.48028</c:v>
                </c:pt>
                <c:pt idx="12">
                  <c:v>3.2482600000000001</c:v>
                </c:pt>
                <c:pt idx="13">
                  <c:v>3.0232600000000001</c:v>
                </c:pt>
                <c:pt idx="14">
                  <c:v>2.5345599999999999</c:v>
                </c:pt>
                <c:pt idx="15">
                  <c:v>2.2831100000000002</c:v>
                </c:pt>
                <c:pt idx="16">
                  <c:v>2.5</c:v>
                </c:pt>
                <c:pt idx="17">
                  <c:v>3.3936700000000002</c:v>
                </c:pt>
                <c:pt idx="18">
                  <c:v>4.0449400000000004</c:v>
                </c:pt>
                <c:pt idx="19">
                  <c:v>5.1918699999999998</c:v>
                </c:pt>
                <c:pt idx="20">
                  <c:v>4.72973</c:v>
                </c:pt>
                <c:pt idx="21">
                  <c:v>4.23163</c:v>
                </c:pt>
                <c:pt idx="22">
                  <c:v>4.88889</c:v>
                </c:pt>
                <c:pt idx="23">
                  <c:v>5.1569500000000001</c:v>
                </c:pt>
                <c:pt idx="24">
                  <c:v>4.9438199999999997</c:v>
                </c:pt>
                <c:pt idx="25">
                  <c:v>5.1918699999999998</c:v>
                </c:pt>
                <c:pt idx="26">
                  <c:v>5.1685400000000001</c:v>
                </c:pt>
                <c:pt idx="27">
                  <c:v>4.6875</c:v>
                </c:pt>
                <c:pt idx="28">
                  <c:v>4.65632</c:v>
                </c:pt>
                <c:pt idx="29">
                  <c:v>4.1575499999999996</c:v>
                </c:pt>
                <c:pt idx="30">
                  <c:v>3.8876900000000001</c:v>
                </c:pt>
                <c:pt idx="31">
                  <c:v>3.86266</c:v>
                </c:pt>
                <c:pt idx="32">
                  <c:v>4.3010799999999998</c:v>
                </c:pt>
                <c:pt idx="33">
                  <c:v>4.0598299999999998</c:v>
                </c:pt>
                <c:pt idx="34">
                  <c:v>3.6016900000000001</c:v>
                </c:pt>
                <c:pt idx="35">
                  <c:v>3.1982900000000001</c:v>
                </c:pt>
                <c:pt idx="36">
                  <c:v>3.4261200000000001</c:v>
                </c:pt>
                <c:pt idx="37">
                  <c:v>3.86266</c:v>
                </c:pt>
                <c:pt idx="38">
                  <c:v>4.0598299999999998</c:v>
                </c:pt>
                <c:pt idx="39">
                  <c:v>5.1172700000000004</c:v>
                </c:pt>
                <c:pt idx="40">
                  <c:v>4.6610199999999997</c:v>
                </c:pt>
                <c:pt idx="41">
                  <c:v>4.4117600000000001</c:v>
                </c:pt>
                <c:pt idx="42">
                  <c:v>4.1580000000000004</c:v>
                </c:pt>
                <c:pt idx="43">
                  <c:v>3.09917</c:v>
                </c:pt>
                <c:pt idx="44">
                  <c:v>2.8866000000000001</c:v>
                </c:pt>
                <c:pt idx="45">
                  <c:v>3.2854199999999998</c:v>
                </c:pt>
                <c:pt idx="46">
                  <c:v>3.0674800000000002</c:v>
                </c:pt>
                <c:pt idx="47">
                  <c:v>3.7190099999999999</c:v>
                </c:pt>
                <c:pt idx="48">
                  <c:v>4.3478300000000001</c:v>
                </c:pt>
                <c:pt idx="49">
                  <c:v>4.1322299999999998</c:v>
                </c:pt>
                <c:pt idx="50">
                  <c:v>3.4907599999999999</c:v>
                </c:pt>
                <c:pt idx="51">
                  <c:v>2.2312400000000001</c:v>
                </c:pt>
                <c:pt idx="52">
                  <c:v>2.8340100000000001</c:v>
                </c:pt>
                <c:pt idx="53">
                  <c:v>3.0181100000000001</c:v>
                </c:pt>
                <c:pt idx="54">
                  <c:v>3.1936100000000001</c:v>
                </c:pt>
                <c:pt idx="55">
                  <c:v>4.6092199999999997</c:v>
                </c:pt>
                <c:pt idx="56">
                  <c:v>4.8096199999999998</c:v>
                </c:pt>
                <c:pt idx="57">
                  <c:v>4.5725600000000002</c:v>
                </c:pt>
                <c:pt idx="58">
                  <c:v>4.1666699999999999</c:v>
                </c:pt>
                <c:pt idx="59">
                  <c:v>3.7848600000000001</c:v>
                </c:pt>
                <c:pt idx="60">
                  <c:v>4.3650799999999998</c:v>
                </c:pt>
                <c:pt idx="61">
                  <c:v>4.1666699999999999</c:v>
                </c:pt>
                <c:pt idx="62">
                  <c:v>4.1666699999999999</c:v>
                </c:pt>
                <c:pt idx="63">
                  <c:v>4.9603200000000003</c:v>
                </c:pt>
                <c:pt idx="64">
                  <c:v>3.7401599999999999</c:v>
                </c:pt>
                <c:pt idx="65">
                  <c:v>3.3203100000000001</c:v>
                </c:pt>
                <c:pt idx="66">
                  <c:v>4.0618999999999996</c:v>
                </c:pt>
                <c:pt idx="67">
                  <c:v>3.44828</c:v>
                </c:pt>
                <c:pt idx="68">
                  <c:v>3.6328900000000002</c:v>
                </c:pt>
                <c:pt idx="69">
                  <c:v>4.1825099999999997</c:v>
                </c:pt>
                <c:pt idx="70">
                  <c:v>5.3333300000000001</c:v>
                </c:pt>
                <c:pt idx="71">
                  <c:v>5.5662200000000004</c:v>
                </c:pt>
                <c:pt idx="72">
                  <c:v>4.3726200000000004</c:v>
                </c:pt>
                <c:pt idx="73">
                  <c:v>4.5714300000000003</c:v>
                </c:pt>
                <c:pt idx="74">
                  <c:v>4.5714300000000003</c:v>
                </c:pt>
                <c:pt idx="75">
                  <c:v>4.6528299999999998</c:v>
                </c:pt>
                <c:pt idx="76">
                  <c:v>5.9254100000000003</c:v>
                </c:pt>
                <c:pt idx="77">
                  <c:v>7.2691499999999998</c:v>
                </c:pt>
                <c:pt idx="78">
                  <c:v>6.3322000000000003</c:v>
                </c:pt>
                <c:pt idx="79">
                  <c:v>5.9383800000000004</c:v>
                </c:pt>
                <c:pt idx="80">
                  <c:v>6.3986499999999999</c:v>
                </c:pt>
                <c:pt idx="81">
                  <c:v>6.91744</c:v>
                </c:pt>
                <c:pt idx="82">
                  <c:v>5.9507300000000001</c:v>
                </c:pt>
                <c:pt idx="83">
                  <c:v>6.5286499999999998</c:v>
                </c:pt>
                <c:pt idx="84">
                  <c:v>6.7226900000000001</c:v>
                </c:pt>
                <c:pt idx="85">
                  <c:v>7.5630300000000004</c:v>
                </c:pt>
                <c:pt idx="86">
                  <c:v>6.7226900000000001</c:v>
                </c:pt>
                <c:pt idx="87">
                  <c:v>6.6666699999999999</c:v>
                </c:pt>
                <c:pt idx="88">
                  <c:v>6.6115700000000004</c:v>
                </c:pt>
                <c:pt idx="89">
                  <c:v>5.6910600000000002</c:v>
                </c:pt>
                <c:pt idx="90">
                  <c:v>6.4516099999999996</c:v>
                </c:pt>
                <c:pt idx="91">
                  <c:v>7.2580600000000004</c:v>
                </c:pt>
                <c:pt idx="92">
                  <c:v>6.4</c:v>
                </c:pt>
                <c:pt idx="93">
                  <c:v>5.5118099999999997</c:v>
                </c:pt>
                <c:pt idx="94">
                  <c:v>5.5118099999999997</c:v>
                </c:pt>
                <c:pt idx="95">
                  <c:v>5.5118099999999997</c:v>
                </c:pt>
                <c:pt idx="96">
                  <c:v>5.5118099999999997</c:v>
                </c:pt>
                <c:pt idx="97">
                  <c:v>5.46875</c:v>
                </c:pt>
                <c:pt idx="98">
                  <c:v>7.8740199999999998</c:v>
                </c:pt>
                <c:pt idx="99">
                  <c:v>7.8125</c:v>
                </c:pt>
                <c:pt idx="100">
                  <c:v>7.7519400000000003</c:v>
                </c:pt>
                <c:pt idx="101">
                  <c:v>7.69231</c:v>
                </c:pt>
                <c:pt idx="102">
                  <c:v>8.3333300000000001</c:v>
                </c:pt>
                <c:pt idx="103">
                  <c:v>9.0225600000000004</c:v>
                </c:pt>
                <c:pt idx="104">
                  <c:v>9.7744400000000002</c:v>
                </c:pt>
                <c:pt idx="105">
                  <c:v>10.447760000000001</c:v>
                </c:pt>
                <c:pt idx="106">
                  <c:v>10.447760000000001</c:v>
                </c:pt>
                <c:pt idx="107">
                  <c:v>9.7014899999999997</c:v>
                </c:pt>
                <c:pt idx="108">
                  <c:v>10.447760000000001</c:v>
                </c:pt>
                <c:pt idx="109">
                  <c:v>9.6296300000000006</c:v>
                </c:pt>
                <c:pt idx="110">
                  <c:v>8.0291999999999994</c:v>
                </c:pt>
                <c:pt idx="111">
                  <c:v>8.6956500000000005</c:v>
                </c:pt>
                <c:pt idx="112">
                  <c:v>8.6330899999999993</c:v>
                </c:pt>
                <c:pt idx="113">
                  <c:v>9.2857099999999999</c:v>
                </c:pt>
                <c:pt idx="114">
                  <c:v>11.888109999999999</c:v>
                </c:pt>
                <c:pt idx="115">
                  <c:v>11.72414</c:v>
                </c:pt>
                <c:pt idx="116">
                  <c:v>11.643840000000001</c:v>
                </c:pt>
                <c:pt idx="117">
                  <c:v>11.48649</c:v>
                </c:pt>
                <c:pt idx="118">
                  <c:v>13.51351</c:v>
                </c:pt>
                <c:pt idx="119">
                  <c:v>14.96599</c:v>
                </c:pt>
                <c:pt idx="120">
                  <c:v>16.21622</c:v>
                </c:pt>
                <c:pt idx="121">
                  <c:v>14.86486</c:v>
                </c:pt>
                <c:pt idx="122">
                  <c:v>14.86486</c:v>
                </c:pt>
                <c:pt idx="123">
                  <c:v>13.33333</c:v>
                </c:pt>
                <c:pt idx="124">
                  <c:v>13.90728</c:v>
                </c:pt>
                <c:pt idx="125">
                  <c:v>13.725490000000001</c:v>
                </c:pt>
                <c:pt idx="126">
                  <c:v>11.25</c:v>
                </c:pt>
                <c:pt idx="127">
                  <c:v>9.8765400000000003</c:v>
                </c:pt>
                <c:pt idx="128">
                  <c:v>9.8159500000000008</c:v>
                </c:pt>
                <c:pt idx="129">
                  <c:v>9.6969700000000003</c:v>
                </c:pt>
                <c:pt idx="130">
                  <c:v>8.3333300000000001</c:v>
                </c:pt>
                <c:pt idx="131">
                  <c:v>9.4674600000000009</c:v>
                </c:pt>
                <c:pt idx="132">
                  <c:v>9.3023299999999995</c:v>
                </c:pt>
                <c:pt idx="133">
                  <c:v>8.8235299999999999</c:v>
                </c:pt>
                <c:pt idx="134">
                  <c:v>8.8235299999999999</c:v>
                </c:pt>
                <c:pt idx="135">
                  <c:v>9.4117599999999992</c:v>
                </c:pt>
                <c:pt idx="136">
                  <c:v>8.7209299999999992</c:v>
                </c:pt>
                <c:pt idx="137">
                  <c:v>8.6206899999999997</c:v>
                </c:pt>
                <c:pt idx="138">
                  <c:v>8.4269700000000007</c:v>
                </c:pt>
                <c:pt idx="139">
                  <c:v>8.9887599999999992</c:v>
                </c:pt>
                <c:pt idx="140">
                  <c:v>10.055870000000001</c:v>
                </c:pt>
                <c:pt idx="141">
                  <c:v>9.3922699999999999</c:v>
                </c:pt>
                <c:pt idx="142">
                  <c:v>9.3406599999999997</c:v>
                </c:pt>
                <c:pt idx="143">
                  <c:v>6.4864899999999999</c:v>
                </c:pt>
                <c:pt idx="144">
                  <c:v>5.3191499999999996</c:v>
                </c:pt>
                <c:pt idx="145">
                  <c:v>7.5675699999999999</c:v>
                </c:pt>
                <c:pt idx="146">
                  <c:v>8.6486499999999999</c:v>
                </c:pt>
                <c:pt idx="147">
                  <c:v>10.21505</c:v>
                </c:pt>
                <c:pt idx="148">
                  <c:v>10.16043</c:v>
                </c:pt>
                <c:pt idx="149">
                  <c:v>10.052910000000001</c:v>
                </c:pt>
                <c:pt idx="150">
                  <c:v>9.8445599999999995</c:v>
                </c:pt>
                <c:pt idx="151">
                  <c:v>10.309279999999999</c:v>
                </c:pt>
                <c:pt idx="152">
                  <c:v>9.13706</c:v>
                </c:pt>
                <c:pt idx="153">
                  <c:v>9.5959599999999998</c:v>
                </c:pt>
                <c:pt idx="154">
                  <c:v>9.5477399999999992</c:v>
                </c:pt>
                <c:pt idx="155">
                  <c:v>11.16751</c:v>
                </c:pt>
                <c:pt idx="156">
                  <c:v>11.616160000000001</c:v>
                </c:pt>
                <c:pt idx="157">
                  <c:v>12.0603</c:v>
                </c:pt>
                <c:pt idx="158">
                  <c:v>11.44279</c:v>
                </c:pt>
                <c:pt idx="159">
                  <c:v>10.2439</c:v>
                </c:pt>
                <c:pt idx="160">
                  <c:v>10.67961</c:v>
                </c:pt>
                <c:pt idx="161">
                  <c:v>11.057689999999999</c:v>
                </c:pt>
                <c:pt idx="162">
                  <c:v>10.84906</c:v>
                </c:pt>
                <c:pt idx="163">
                  <c:v>10.74766</c:v>
                </c:pt>
                <c:pt idx="164">
                  <c:v>10.69767</c:v>
                </c:pt>
                <c:pt idx="165">
                  <c:v>11.05991</c:v>
                </c:pt>
                <c:pt idx="166">
                  <c:v>11.467890000000001</c:v>
                </c:pt>
                <c:pt idx="167">
                  <c:v>9.1324199999999998</c:v>
                </c:pt>
                <c:pt idx="168">
                  <c:v>7.2398199999999999</c:v>
                </c:pt>
                <c:pt idx="169">
                  <c:v>6.7264600000000003</c:v>
                </c:pt>
                <c:pt idx="170">
                  <c:v>6.6964300000000003</c:v>
                </c:pt>
                <c:pt idx="171">
                  <c:v>7.07965</c:v>
                </c:pt>
                <c:pt idx="172">
                  <c:v>7.0175400000000003</c:v>
                </c:pt>
                <c:pt idx="173">
                  <c:v>6.4935099999999997</c:v>
                </c:pt>
                <c:pt idx="174">
                  <c:v>7.2340400000000002</c:v>
                </c:pt>
                <c:pt idx="175">
                  <c:v>6.7510500000000002</c:v>
                </c:pt>
                <c:pt idx="176">
                  <c:v>6.3025200000000003</c:v>
                </c:pt>
                <c:pt idx="177">
                  <c:v>4.9792500000000004</c:v>
                </c:pt>
                <c:pt idx="178">
                  <c:v>4.1152300000000004</c:v>
                </c:pt>
                <c:pt idx="179">
                  <c:v>5.8577399999999997</c:v>
                </c:pt>
                <c:pt idx="180">
                  <c:v>7.173</c:v>
                </c:pt>
                <c:pt idx="181">
                  <c:v>6.3025200000000003</c:v>
                </c:pt>
                <c:pt idx="182">
                  <c:v>6.2761500000000003</c:v>
                </c:pt>
                <c:pt idx="183">
                  <c:v>5.78512</c:v>
                </c:pt>
                <c:pt idx="184">
                  <c:v>5.7377000000000002</c:v>
                </c:pt>
                <c:pt idx="185">
                  <c:v>6.0975599999999996</c:v>
                </c:pt>
                <c:pt idx="186">
                  <c:v>4.3650799999999998</c:v>
                </c:pt>
                <c:pt idx="187">
                  <c:v>4.3478300000000001</c:v>
                </c:pt>
                <c:pt idx="188">
                  <c:v>5.1383400000000004</c:v>
                </c:pt>
                <c:pt idx="189">
                  <c:v>6.3241100000000001</c:v>
                </c:pt>
                <c:pt idx="190">
                  <c:v>6.7193699999999996</c:v>
                </c:pt>
                <c:pt idx="191">
                  <c:v>6.3241100000000001</c:v>
                </c:pt>
                <c:pt idx="192">
                  <c:v>5.9055099999999996</c:v>
                </c:pt>
                <c:pt idx="193">
                  <c:v>5.5335999999999999</c:v>
                </c:pt>
                <c:pt idx="194">
                  <c:v>5.5118099999999997</c:v>
                </c:pt>
                <c:pt idx="195">
                  <c:v>5.8593700000000002</c:v>
                </c:pt>
                <c:pt idx="196">
                  <c:v>6.5891500000000001</c:v>
                </c:pt>
                <c:pt idx="197">
                  <c:v>6.1302700000000003</c:v>
                </c:pt>
                <c:pt idx="198">
                  <c:v>6.4638799999999996</c:v>
                </c:pt>
                <c:pt idx="199">
                  <c:v>5.3030299999999997</c:v>
                </c:pt>
                <c:pt idx="200">
                  <c:v>4.1353400000000002</c:v>
                </c:pt>
                <c:pt idx="201">
                  <c:v>3.34572</c:v>
                </c:pt>
                <c:pt idx="202">
                  <c:v>2.59259</c:v>
                </c:pt>
                <c:pt idx="203">
                  <c:v>2.23048</c:v>
                </c:pt>
                <c:pt idx="204">
                  <c:v>1.8587400000000001</c:v>
                </c:pt>
                <c:pt idx="205">
                  <c:v>2.6217199999999998</c:v>
                </c:pt>
                <c:pt idx="206">
                  <c:v>2.6119400000000002</c:v>
                </c:pt>
                <c:pt idx="207">
                  <c:v>2.2140200000000001</c:v>
                </c:pt>
                <c:pt idx="208">
                  <c:v>1.09091</c:v>
                </c:pt>
                <c:pt idx="209">
                  <c:v>1.0830299999999999</c:v>
                </c:pt>
                <c:pt idx="210">
                  <c:v>1.7857099999999999</c:v>
                </c:pt>
                <c:pt idx="211">
                  <c:v>2.5179900000000002</c:v>
                </c:pt>
                <c:pt idx="212">
                  <c:v>2.88809</c:v>
                </c:pt>
                <c:pt idx="213">
                  <c:v>3.2374100000000001</c:v>
                </c:pt>
                <c:pt idx="214">
                  <c:v>3.97112</c:v>
                </c:pt>
                <c:pt idx="215">
                  <c:v>4</c:v>
                </c:pt>
                <c:pt idx="216">
                  <c:v>5.1094900000000001</c:v>
                </c:pt>
                <c:pt idx="217">
                  <c:v>4.7445300000000001</c:v>
                </c:pt>
                <c:pt idx="218">
                  <c:v>4.3636400000000002</c:v>
                </c:pt>
                <c:pt idx="219">
                  <c:v>3.97112</c:v>
                </c:pt>
                <c:pt idx="220">
                  <c:v>3.9568300000000001</c:v>
                </c:pt>
                <c:pt idx="221">
                  <c:v>3.9285700000000001</c:v>
                </c:pt>
                <c:pt idx="222">
                  <c:v>5.6140400000000001</c:v>
                </c:pt>
                <c:pt idx="223">
                  <c:v>5.6140400000000001</c:v>
                </c:pt>
                <c:pt idx="224">
                  <c:v>5.6140400000000001</c:v>
                </c:pt>
                <c:pt idx="225">
                  <c:v>5.2264799999999996</c:v>
                </c:pt>
                <c:pt idx="226">
                  <c:v>4.86111</c:v>
                </c:pt>
                <c:pt idx="227">
                  <c:v>5.2447600000000003</c:v>
                </c:pt>
                <c:pt idx="228">
                  <c:v>6.5972200000000001</c:v>
                </c:pt>
                <c:pt idx="229">
                  <c:v>6.9686399999999997</c:v>
                </c:pt>
                <c:pt idx="230">
                  <c:v>7.6655100000000003</c:v>
                </c:pt>
                <c:pt idx="231">
                  <c:v>8.3333300000000001</c:v>
                </c:pt>
                <c:pt idx="232">
                  <c:v>8.6505200000000002</c:v>
                </c:pt>
                <c:pt idx="233">
                  <c:v>8.5910700000000002</c:v>
                </c:pt>
                <c:pt idx="234">
                  <c:v>5.9800700000000004</c:v>
                </c:pt>
                <c:pt idx="235">
                  <c:v>6.31229</c:v>
                </c:pt>
                <c:pt idx="236">
                  <c:v>6.9767400000000004</c:v>
                </c:pt>
                <c:pt idx="237">
                  <c:v>7.6158900000000003</c:v>
                </c:pt>
                <c:pt idx="238">
                  <c:v>8.6092700000000004</c:v>
                </c:pt>
                <c:pt idx="239">
                  <c:v>9.6345500000000008</c:v>
                </c:pt>
                <c:pt idx="240">
                  <c:v>7.49186</c:v>
                </c:pt>
                <c:pt idx="241">
                  <c:v>6.8403900000000002</c:v>
                </c:pt>
                <c:pt idx="242">
                  <c:v>5.50162</c:v>
                </c:pt>
                <c:pt idx="243">
                  <c:v>5.4487199999999998</c:v>
                </c:pt>
                <c:pt idx="244">
                  <c:v>5.0955399999999997</c:v>
                </c:pt>
                <c:pt idx="245">
                  <c:v>5.0632900000000003</c:v>
                </c:pt>
                <c:pt idx="246">
                  <c:v>5.3291500000000003</c:v>
                </c:pt>
                <c:pt idx="247">
                  <c:v>5.625</c:v>
                </c:pt>
                <c:pt idx="248">
                  <c:v>5.6365699999999999</c:v>
                </c:pt>
                <c:pt idx="249">
                  <c:v>5.9021600000000003</c:v>
                </c:pt>
                <c:pt idx="250">
                  <c:v>5.2847900000000001</c:v>
                </c:pt>
                <c:pt idx="251">
                  <c:v>3.6866400000000001</c:v>
                </c:pt>
                <c:pt idx="252">
                  <c:v>3.1629700000000001</c:v>
                </c:pt>
                <c:pt idx="253">
                  <c:v>4.4944899999999999</c:v>
                </c:pt>
                <c:pt idx="254">
                  <c:v>5.6656599999999999</c:v>
                </c:pt>
                <c:pt idx="255">
                  <c:v>5.1398599999999997</c:v>
                </c:pt>
                <c:pt idx="256">
                  <c:v>5.2576499999999999</c:v>
                </c:pt>
                <c:pt idx="257">
                  <c:v>5.5778400000000001</c:v>
                </c:pt>
                <c:pt idx="258">
                  <c:v>5.2638800000000003</c:v>
                </c:pt>
                <c:pt idx="259">
                  <c:v>4.8114400000000002</c:v>
                </c:pt>
                <c:pt idx="260">
                  <c:v>4.4030500000000004</c:v>
                </c:pt>
                <c:pt idx="261">
                  <c:v>4.5188300000000003</c:v>
                </c:pt>
                <c:pt idx="262">
                  <c:v>4.8373600000000003</c:v>
                </c:pt>
                <c:pt idx="263">
                  <c:v>5.5555599999999998</c:v>
                </c:pt>
                <c:pt idx="264">
                  <c:v>5.8375599999999999</c:v>
                </c:pt>
                <c:pt idx="265">
                  <c:v>5.0420199999999999</c:v>
                </c:pt>
                <c:pt idx="266">
                  <c:v>5.3511699999999998</c:v>
                </c:pt>
                <c:pt idx="267">
                  <c:v>6.3280599999999998</c:v>
                </c:pt>
                <c:pt idx="268">
                  <c:v>6.9651699999999996</c:v>
                </c:pt>
                <c:pt idx="269">
                  <c:v>6.1627000000000001</c:v>
                </c:pt>
                <c:pt idx="270">
                  <c:v>5.7817600000000002</c:v>
                </c:pt>
                <c:pt idx="271">
                  <c:v>5.8536599999999996</c:v>
                </c:pt>
                <c:pt idx="272">
                  <c:v>6.4882400000000002</c:v>
                </c:pt>
                <c:pt idx="273">
                  <c:v>6.0848699999999996</c:v>
                </c:pt>
                <c:pt idx="274">
                  <c:v>5.4097099999999996</c:v>
                </c:pt>
                <c:pt idx="275">
                  <c:v>5.5023900000000001</c:v>
                </c:pt>
                <c:pt idx="276">
                  <c:v>6.1550799999999999</c:v>
                </c:pt>
                <c:pt idx="277">
                  <c:v>6.16</c:v>
                </c:pt>
                <c:pt idx="278">
                  <c:v>5.7936500000000004</c:v>
                </c:pt>
                <c:pt idx="279">
                  <c:v>5.0900499999999997</c:v>
                </c:pt>
                <c:pt idx="280">
                  <c:v>4.4185999999999996</c:v>
                </c:pt>
                <c:pt idx="281">
                  <c:v>5.5727599999999997</c:v>
                </c:pt>
                <c:pt idx="282">
                  <c:v>7.5442600000000004</c:v>
                </c:pt>
                <c:pt idx="283">
                  <c:v>6.9124400000000001</c:v>
                </c:pt>
                <c:pt idx="284">
                  <c:v>4.72201</c:v>
                </c:pt>
              </c:numCache>
            </c:numRef>
          </c:val>
          <c:smooth val="0"/>
          <c:extLst>
            <c:ext xmlns:c16="http://schemas.microsoft.com/office/drawing/2014/chart" uri="{C3380CC4-5D6E-409C-BE32-E72D297353CC}">
              <c16:uniqueId val="{00000001-1319-4D2C-B974-861928016DC7}"/>
            </c:ext>
          </c:extLst>
        </c:ser>
        <c:ser>
          <c:idx val="2"/>
          <c:order val="2"/>
          <c:tx>
            <c:strRef>
              <c:f>cpi!$I$3</c:f>
              <c:strCache>
                <c:ptCount val="1"/>
                <c:pt idx="0">
                  <c:v>Russia </c:v>
                </c:pt>
              </c:strCache>
            </c:strRef>
          </c:tx>
          <c:spPr>
            <a:ln>
              <a:solidFill>
                <a:srgbClr val="00447C"/>
              </a:solidFill>
            </a:ln>
          </c:spPr>
          <c:marker>
            <c:symbol val="none"/>
          </c:marker>
          <c:cat>
            <c:numRef>
              <c:f>cpi!$A$4:$A$289</c:f>
              <c:numCache>
                <c:formatCode>yyyy\-mm\-dd</c:formatCode>
                <c:ptCount val="286"/>
                <c:pt idx="0">
                  <c:v>36526</c:v>
                </c:pt>
                <c:pt idx="1">
                  <c:v>36557</c:v>
                </c:pt>
                <c:pt idx="2">
                  <c:v>36586</c:v>
                </c:pt>
                <c:pt idx="3">
                  <c:v>36617</c:v>
                </c:pt>
                <c:pt idx="4">
                  <c:v>36647</c:v>
                </c:pt>
                <c:pt idx="5">
                  <c:v>36678</c:v>
                </c:pt>
                <c:pt idx="6">
                  <c:v>36708</c:v>
                </c:pt>
                <c:pt idx="7">
                  <c:v>36739</c:v>
                </c:pt>
                <c:pt idx="8">
                  <c:v>36770</c:v>
                </c:pt>
                <c:pt idx="9">
                  <c:v>36800</c:v>
                </c:pt>
                <c:pt idx="10">
                  <c:v>36831</c:v>
                </c:pt>
                <c:pt idx="11">
                  <c:v>36861</c:v>
                </c:pt>
                <c:pt idx="12">
                  <c:v>36892</c:v>
                </c:pt>
                <c:pt idx="13">
                  <c:v>36923</c:v>
                </c:pt>
                <c:pt idx="14">
                  <c:v>36951</c:v>
                </c:pt>
                <c:pt idx="15">
                  <c:v>36982</c:v>
                </c:pt>
                <c:pt idx="16">
                  <c:v>37012</c:v>
                </c:pt>
                <c:pt idx="17">
                  <c:v>37043</c:v>
                </c:pt>
                <c:pt idx="18">
                  <c:v>37073</c:v>
                </c:pt>
                <c:pt idx="19">
                  <c:v>37104</c:v>
                </c:pt>
                <c:pt idx="20">
                  <c:v>37135</c:v>
                </c:pt>
                <c:pt idx="21">
                  <c:v>37165</c:v>
                </c:pt>
                <c:pt idx="22">
                  <c:v>37196</c:v>
                </c:pt>
                <c:pt idx="23">
                  <c:v>37226</c:v>
                </c:pt>
                <c:pt idx="24">
                  <c:v>37257</c:v>
                </c:pt>
                <c:pt idx="25">
                  <c:v>37288</c:v>
                </c:pt>
                <c:pt idx="26">
                  <c:v>37316</c:v>
                </c:pt>
                <c:pt idx="27">
                  <c:v>37347</c:v>
                </c:pt>
                <c:pt idx="28">
                  <c:v>37377</c:v>
                </c:pt>
                <c:pt idx="29">
                  <c:v>37408</c:v>
                </c:pt>
                <c:pt idx="30">
                  <c:v>37438</c:v>
                </c:pt>
                <c:pt idx="31">
                  <c:v>37469</c:v>
                </c:pt>
                <c:pt idx="32">
                  <c:v>37500</c:v>
                </c:pt>
                <c:pt idx="33">
                  <c:v>37530</c:v>
                </c:pt>
                <c:pt idx="34">
                  <c:v>37561</c:v>
                </c:pt>
                <c:pt idx="35">
                  <c:v>37591</c:v>
                </c:pt>
                <c:pt idx="36">
                  <c:v>37622</c:v>
                </c:pt>
                <c:pt idx="37">
                  <c:v>37653</c:v>
                </c:pt>
                <c:pt idx="38">
                  <c:v>37681</c:v>
                </c:pt>
                <c:pt idx="39">
                  <c:v>37712</c:v>
                </c:pt>
                <c:pt idx="40">
                  <c:v>37742</c:v>
                </c:pt>
                <c:pt idx="41">
                  <c:v>37773</c:v>
                </c:pt>
                <c:pt idx="42">
                  <c:v>37803</c:v>
                </c:pt>
                <c:pt idx="43">
                  <c:v>37834</c:v>
                </c:pt>
                <c:pt idx="44">
                  <c:v>37865</c:v>
                </c:pt>
                <c:pt idx="45">
                  <c:v>37895</c:v>
                </c:pt>
                <c:pt idx="46">
                  <c:v>37926</c:v>
                </c:pt>
                <c:pt idx="47">
                  <c:v>37956</c:v>
                </c:pt>
                <c:pt idx="48">
                  <c:v>37987</c:v>
                </c:pt>
                <c:pt idx="49">
                  <c:v>38018</c:v>
                </c:pt>
                <c:pt idx="50">
                  <c:v>38047</c:v>
                </c:pt>
                <c:pt idx="51">
                  <c:v>38078</c:v>
                </c:pt>
                <c:pt idx="52">
                  <c:v>38108</c:v>
                </c:pt>
                <c:pt idx="53">
                  <c:v>38139</c:v>
                </c:pt>
                <c:pt idx="54">
                  <c:v>38169</c:v>
                </c:pt>
                <c:pt idx="55">
                  <c:v>38200</c:v>
                </c:pt>
                <c:pt idx="56">
                  <c:v>38231</c:v>
                </c:pt>
                <c:pt idx="57">
                  <c:v>38261</c:v>
                </c:pt>
                <c:pt idx="58">
                  <c:v>38292</c:v>
                </c:pt>
                <c:pt idx="59">
                  <c:v>38322</c:v>
                </c:pt>
                <c:pt idx="60">
                  <c:v>38353</c:v>
                </c:pt>
                <c:pt idx="61">
                  <c:v>38384</c:v>
                </c:pt>
                <c:pt idx="62">
                  <c:v>38412</c:v>
                </c:pt>
                <c:pt idx="63">
                  <c:v>38443</c:v>
                </c:pt>
                <c:pt idx="64">
                  <c:v>38473</c:v>
                </c:pt>
                <c:pt idx="65">
                  <c:v>38504</c:v>
                </c:pt>
                <c:pt idx="66">
                  <c:v>38534</c:v>
                </c:pt>
                <c:pt idx="67">
                  <c:v>38565</c:v>
                </c:pt>
                <c:pt idx="68">
                  <c:v>38596</c:v>
                </c:pt>
                <c:pt idx="69">
                  <c:v>38626</c:v>
                </c:pt>
                <c:pt idx="70">
                  <c:v>38657</c:v>
                </c:pt>
                <c:pt idx="71">
                  <c:v>38687</c:v>
                </c:pt>
                <c:pt idx="72">
                  <c:v>38718</c:v>
                </c:pt>
                <c:pt idx="73">
                  <c:v>38749</c:v>
                </c:pt>
                <c:pt idx="74">
                  <c:v>38777</c:v>
                </c:pt>
                <c:pt idx="75">
                  <c:v>38808</c:v>
                </c:pt>
                <c:pt idx="76">
                  <c:v>38838</c:v>
                </c:pt>
                <c:pt idx="77">
                  <c:v>38869</c:v>
                </c:pt>
                <c:pt idx="78">
                  <c:v>38899</c:v>
                </c:pt>
                <c:pt idx="79">
                  <c:v>38930</c:v>
                </c:pt>
                <c:pt idx="80">
                  <c:v>38961</c:v>
                </c:pt>
                <c:pt idx="81">
                  <c:v>38991</c:v>
                </c:pt>
                <c:pt idx="82">
                  <c:v>39022</c:v>
                </c:pt>
                <c:pt idx="83">
                  <c:v>39052</c:v>
                </c:pt>
                <c:pt idx="84">
                  <c:v>39083</c:v>
                </c:pt>
                <c:pt idx="85">
                  <c:v>39114</c:v>
                </c:pt>
                <c:pt idx="86">
                  <c:v>39142</c:v>
                </c:pt>
                <c:pt idx="87">
                  <c:v>39173</c:v>
                </c:pt>
                <c:pt idx="88">
                  <c:v>39203</c:v>
                </c:pt>
                <c:pt idx="89">
                  <c:v>39234</c:v>
                </c:pt>
                <c:pt idx="90">
                  <c:v>39264</c:v>
                </c:pt>
                <c:pt idx="91">
                  <c:v>39295</c:v>
                </c:pt>
                <c:pt idx="92">
                  <c:v>39326</c:v>
                </c:pt>
                <c:pt idx="93">
                  <c:v>39356</c:v>
                </c:pt>
                <c:pt idx="94">
                  <c:v>39387</c:v>
                </c:pt>
                <c:pt idx="95">
                  <c:v>39417</c:v>
                </c:pt>
                <c:pt idx="96">
                  <c:v>39448</c:v>
                </c:pt>
                <c:pt idx="97">
                  <c:v>39479</c:v>
                </c:pt>
                <c:pt idx="98">
                  <c:v>39508</c:v>
                </c:pt>
                <c:pt idx="99">
                  <c:v>39539</c:v>
                </c:pt>
                <c:pt idx="100">
                  <c:v>39569</c:v>
                </c:pt>
                <c:pt idx="101">
                  <c:v>39600</c:v>
                </c:pt>
                <c:pt idx="102">
                  <c:v>39630</c:v>
                </c:pt>
                <c:pt idx="103">
                  <c:v>39661</c:v>
                </c:pt>
                <c:pt idx="104">
                  <c:v>39692</c:v>
                </c:pt>
                <c:pt idx="105">
                  <c:v>39722</c:v>
                </c:pt>
                <c:pt idx="106">
                  <c:v>39753</c:v>
                </c:pt>
                <c:pt idx="107">
                  <c:v>39783</c:v>
                </c:pt>
                <c:pt idx="108">
                  <c:v>39814</c:v>
                </c:pt>
                <c:pt idx="109">
                  <c:v>39845</c:v>
                </c:pt>
                <c:pt idx="110">
                  <c:v>39873</c:v>
                </c:pt>
                <c:pt idx="111">
                  <c:v>39904</c:v>
                </c:pt>
                <c:pt idx="112">
                  <c:v>39934</c:v>
                </c:pt>
                <c:pt idx="113">
                  <c:v>39965</c:v>
                </c:pt>
                <c:pt idx="114">
                  <c:v>39995</c:v>
                </c:pt>
                <c:pt idx="115">
                  <c:v>40026</c:v>
                </c:pt>
                <c:pt idx="116">
                  <c:v>40057</c:v>
                </c:pt>
                <c:pt idx="117">
                  <c:v>40087</c:v>
                </c:pt>
                <c:pt idx="118">
                  <c:v>40118</c:v>
                </c:pt>
                <c:pt idx="119">
                  <c:v>40148</c:v>
                </c:pt>
                <c:pt idx="120">
                  <c:v>40179</c:v>
                </c:pt>
                <c:pt idx="121">
                  <c:v>40210</c:v>
                </c:pt>
                <c:pt idx="122">
                  <c:v>40238</c:v>
                </c:pt>
                <c:pt idx="123">
                  <c:v>40269</c:v>
                </c:pt>
                <c:pt idx="124">
                  <c:v>40299</c:v>
                </c:pt>
                <c:pt idx="125">
                  <c:v>40330</c:v>
                </c:pt>
                <c:pt idx="126">
                  <c:v>40360</c:v>
                </c:pt>
                <c:pt idx="127">
                  <c:v>40391</c:v>
                </c:pt>
                <c:pt idx="128">
                  <c:v>40422</c:v>
                </c:pt>
                <c:pt idx="129">
                  <c:v>40452</c:v>
                </c:pt>
                <c:pt idx="130">
                  <c:v>40483</c:v>
                </c:pt>
                <c:pt idx="131">
                  <c:v>40513</c:v>
                </c:pt>
                <c:pt idx="132">
                  <c:v>40544</c:v>
                </c:pt>
                <c:pt idx="133">
                  <c:v>40575</c:v>
                </c:pt>
                <c:pt idx="134">
                  <c:v>40603</c:v>
                </c:pt>
                <c:pt idx="135">
                  <c:v>40634</c:v>
                </c:pt>
                <c:pt idx="136">
                  <c:v>40664</c:v>
                </c:pt>
                <c:pt idx="137">
                  <c:v>40695</c:v>
                </c:pt>
                <c:pt idx="138">
                  <c:v>40725</c:v>
                </c:pt>
                <c:pt idx="139">
                  <c:v>40756</c:v>
                </c:pt>
                <c:pt idx="140">
                  <c:v>40787</c:v>
                </c:pt>
                <c:pt idx="141">
                  <c:v>40817</c:v>
                </c:pt>
                <c:pt idx="142">
                  <c:v>40848</c:v>
                </c:pt>
                <c:pt idx="143">
                  <c:v>40878</c:v>
                </c:pt>
                <c:pt idx="144">
                  <c:v>40909</c:v>
                </c:pt>
                <c:pt idx="145">
                  <c:v>40940</c:v>
                </c:pt>
                <c:pt idx="146">
                  <c:v>40969</c:v>
                </c:pt>
                <c:pt idx="147">
                  <c:v>41000</c:v>
                </c:pt>
                <c:pt idx="148">
                  <c:v>41030</c:v>
                </c:pt>
                <c:pt idx="149">
                  <c:v>41061</c:v>
                </c:pt>
                <c:pt idx="150">
                  <c:v>41091</c:v>
                </c:pt>
                <c:pt idx="151">
                  <c:v>41122</c:v>
                </c:pt>
                <c:pt idx="152">
                  <c:v>41153</c:v>
                </c:pt>
                <c:pt idx="153">
                  <c:v>41183</c:v>
                </c:pt>
                <c:pt idx="154">
                  <c:v>41214</c:v>
                </c:pt>
                <c:pt idx="155">
                  <c:v>41244</c:v>
                </c:pt>
                <c:pt idx="156">
                  <c:v>41275</c:v>
                </c:pt>
                <c:pt idx="157">
                  <c:v>41306</c:v>
                </c:pt>
                <c:pt idx="158">
                  <c:v>41334</c:v>
                </c:pt>
                <c:pt idx="159">
                  <c:v>41365</c:v>
                </c:pt>
                <c:pt idx="160">
                  <c:v>41395</c:v>
                </c:pt>
                <c:pt idx="161">
                  <c:v>41426</c:v>
                </c:pt>
                <c:pt idx="162">
                  <c:v>41456</c:v>
                </c:pt>
                <c:pt idx="163">
                  <c:v>41487</c:v>
                </c:pt>
                <c:pt idx="164">
                  <c:v>41518</c:v>
                </c:pt>
                <c:pt idx="165">
                  <c:v>41548</c:v>
                </c:pt>
                <c:pt idx="166">
                  <c:v>41579</c:v>
                </c:pt>
                <c:pt idx="167">
                  <c:v>41609</c:v>
                </c:pt>
                <c:pt idx="168">
                  <c:v>41640</c:v>
                </c:pt>
                <c:pt idx="169">
                  <c:v>41671</c:v>
                </c:pt>
                <c:pt idx="170">
                  <c:v>41699</c:v>
                </c:pt>
                <c:pt idx="171">
                  <c:v>41730</c:v>
                </c:pt>
                <c:pt idx="172">
                  <c:v>41760</c:v>
                </c:pt>
                <c:pt idx="173">
                  <c:v>41791</c:v>
                </c:pt>
                <c:pt idx="174">
                  <c:v>41821</c:v>
                </c:pt>
                <c:pt idx="175">
                  <c:v>41852</c:v>
                </c:pt>
                <c:pt idx="176">
                  <c:v>41883</c:v>
                </c:pt>
                <c:pt idx="177">
                  <c:v>41913</c:v>
                </c:pt>
                <c:pt idx="178">
                  <c:v>41944</c:v>
                </c:pt>
                <c:pt idx="179">
                  <c:v>41974</c:v>
                </c:pt>
                <c:pt idx="180">
                  <c:v>42005</c:v>
                </c:pt>
                <c:pt idx="181">
                  <c:v>42036</c:v>
                </c:pt>
                <c:pt idx="182">
                  <c:v>42064</c:v>
                </c:pt>
                <c:pt idx="183">
                  <c:v>42095</c:v>
                </c:pt>
                <c:pt idx="184">
                  <c:v>42125</c:v>
                </c:pt>
                <c:pt idx="185">
                  <c:v>42156</c:v>
                </c:pt>
                <c:pt idx="186">
                  <c:v>42186</c:v>
                </c:pt>
                <c:pt idx="187">
                  <c:v>42217</c:v>
                </c:pt>
                <c:pt idx="188">
                  <c:v>42248</c:v>
                </c:pt>
                <c:pt idx="189">
                  <c:v>42278</c:v>
                </c:pt>
                <c:pt idx="190">
                  <c:v>42309</c:v>
                </c:pt>
                <c:pt idx="191">
                  <c:v>42339</c:v>
                </c:pt>
                <c:pt idx="192">
                  <c:v>42370</c:v>
                </c:pt>
                <c:pt idx="193">
                  <c:v>42401</c:v>
                </c:pt>
                <c:pt idx="194">
                  <c:v>42430</c:v>
                </c:pt>
                <c:pt idx="195">
                  <c:v>42461</c:v>
                </c:pt>
                <c:pt idx="196">
                  <c:v>42491</c:v>
                </c:pt>
                <c:pt idx="197">
                  <c:v>42522</c:v>
                </c:pt>
                <c:pt idx="198">
                  <c:v>42552</c:v>
                </c:pt>
                <c:pt idx="199">
                  <c:v>42583</c:v>
                </c:pt>
                <c:pt idx="200">
                  <c:v>42614</c:v>
                </c:pt>
                <c:pt idx="201">
                  <c:v>42644</c:v>
                </c:pt>
                <c:pt idx="202">
                  <c:v>42675</c:v>
                </c:pt>
                <c:pt idx="203">
                  <c:v>42705</c:v>
                </c:pt>
                <c:pt idx="204">
                  <c:v>42736</c:v>
                </c:pt>
                <c:pt idx="205">
                  <c:v>42767</c:v>
                </c:pt>
                <c:pt idx="206">
                  <c:v>42795</c:v>
                </c:pt>
                <c:pt idx="207">
                  <c:v>42826</c:v>
                </c:pt>
                <c:pt idx="208">
                  <c:v>42856</c:v>
                </c:pt>
                <c:pt idx="209">
                  <c:v>42887</c:v>
                </c:pt>
                <c:pt idx="210">
                  <c:v>42917</c:v>
                </c:pt>
                <c:pt idx="211">
                  <c:v>42948</c:v>
                </c:pt>
                <c:pt idx="212">
                  <c:v>42979</c:v>
                </c:pt>
                <c:pt idx="213">
                  <c:v>43009</c:v>
                </c:pt>
                <c:pt idx="214">
                  <c:v>43040</c:v>
                </c:pt>
                <c:pt idx="215">
                  <c:v>43070</c:v>
                </c:pt>
                <c:pt idx="216">
                  <c:v>43101</c:v>
                </c:pt>
                <c:pt idx="217">
                  <c:v>43132</c:v>
                </c:pt>
                <c:pt idx="218">
                  <c:v>43160</c:v>
                </c:pt>
                <c:pt idx="219">
                  <c:v>43191</c:v>
                </c:pt>
                <c:pt idx="220">
                  <c:v>43221</c:v>
                </c:pt>
                <c:pt idx="221">
                  <c:v>43252</c:v>
                </c:pt>
                <c:pt idx="222">
                  <c:v>43282</c:v>
                </c:pt>
                <c:pt idx="223">
                  <c:v>43313</c:v>
                </c:pt>
                <c:pt idx="224">
                  <c:v>43344</c:v>
                </c:pt>
                <c:pt idx="225">
                  <c:v>43374</c:v>
                </c:pt>
                <c:pt idx="226">
                  <c:v>43405</c:v>
                </c:pt>
                <c:pt idx="227">
                  <c:v>43435</c:v>
                </c:pt>
                <c:pt idx="228">
                  <c:v>43466</c:v>
                </c:pt>
                <c:pt idx="229">
                  <c:v>43497</c:v>
                </c:pt>
                <c:pt idx="230">
                  <c:v>43525</c:v>
                </c:pt>
                <c:pt idx="231">
                  <c:v>43556</c:v>
                </c:pt>
                <c:pt idx="232">
                  <c:v>43586</c:v>
                </c:pt>
                <c:pt idx="233">
                  <c:v>43617</c:v>
                </c:pt>
                <c:pt idx="234">
                  <c:v>43647</c:v>
                </c:pt>
                <c:pt idx="235">
                  <c:v>43678</c:v>
                </c:pt>
                <c:pt idx="236">
                  <c:v>43709</c:v>
                </c:pt>
                <c:pt idx="237">
                  <c:v>43739</c:v>
                </c:pt>
                <c:pt idx="238">
                  <c:v>43770</c:v>
                </c:pt>
                <c:pt idx="239">
                  <c:v>43800</c:v>
                </c:pt>
                <c:pt idx="240">
                  <c:v>43831</c:v>
                </c:pt>
                <c:pt idx="241">
                  <c:v>43862</c:v>
                </c:pt>
                <c:pt idx="242">
                  <c:v>43891</c:v>
                </c:pt>
                <c:pt idx="243">
                  <c:v>43922</c:v>
                </c:pt>
                <c:pt idx="244">
                  <c:v>43952</c:v>
                </c:pt>
                <c:pt idx="245">
                  <c:v>43983</c:v>
                </c:pt>
                <c:pt idx="246">
                  <c:v>44013</c:v>
                </c:pt>
                <c:pt idx="247">
                  <c:v>44044</c:v>
                </c:pt>
                <c:pt idx="248">
                  <c:v>44075</c:v>
                </c:pt>
                <c:pt idx="249">
                  <c:v>44105</c:v>
                </c:pt>
                <c:pt idx="250">
                  <c:v>44136</c:v>
                </c:pt>
                <c:pt idx="251">
                  <c:v>44166</c:v>
                </c:pt>
                <c:pt idx="252">
                  <c:v>44197</c:v>
                </c:pt>
                <c:pt idx="253">
                  <c:v>44228</c:v>
                </c:pt>
                <c:pt idx="254">
                  <c:v>44256</c:v>
                </c:pt>
                <c:pt idx="255">
                  <c:v>44287</c:v>
                </c:pt>
                <c:pt idx="256">
                  <c:v>44317</c:v>
                </c:pt>
                <c:pt idx="257">
                  <c:v>44348</c:v>
                </c:pt>
                <c:pt idx="258">
                  <c:v>44378</c:v>
                </c:pt>
                <c:pt idx="259">
                  <c:v>44409</c:v>
                </c:pt>
                <c:pt idx="260">
                  <c:v>44440</c:v>
                </c:pt>
                <c:pt idx="261">
                  <c:v>44470</c:v>
                </c:pt>
                <c:pt idx="262">
                  <c:v>44501</c:v>
                </c:pt>
                <c:pt idx="263">
                  <c:v>44531</c:v>
                </c:pt>
                <c:pt idx="264">
                  <c:v>44562</c:v>
                </c:pt>
                <c:pt idx="265">
                  <c:v>44593</c:v>
                </c:pt>
                <c:pt idx="266">
                  <c:v>44621</c:v>
                </c:pt>
                <c:pt idx="267">
                  <c:v>44652</c:v>
                </c:pt>
                <c:pt idx="268">
                  <c:v>44682</c:v>
                </c:pt>
                <c:pt idx="269">
                  <c:v>44713</c:v>
                </c:pt>
                <c:pt idx="270">
                  <c:v>44743</c:v>
                </c:pt>
                <c:pt idx="271">
                  <c:v>44774</c:v>
                </c:pt>
                <c:pt idx="272">
                  <c:v>44805</c:v>
                </c:pt>
                <c:pt idx="273">
                  <c:v>44835</c:v>
                </c:pt>
                <c:pt idx="274">
                  <c:v>44866</c:v>
                </c:pt>
                <c:pt idx="275">
                  <c:v>44896</c:v>
                </c:pt>
                <c:pt idx="276">
                  <c:v>44927</c:v>
                </c:pt>
                <c:pt idx="277">
                  <c:v>44958</c:v>
                </c:pt>
                <c:pt idx="278">
                  <c:v>44986</c:v>
                </c:pt>
                <c:pt idx="279">
                  <c:v>45017</c:v>
                </c:pt>
                <c:pt idx="280">
                  <c:v>45047</c:v>
                </c:pt>
                <c:pt idx="281">
                  <c:v>45078</c:v>
                </c:pt>
                <c:pt idx="282">
                  <c:v>45108</c:v>
                </c:pt>
                <c:pt idx="283">
                  <c:v>45139</c:v>
                </c:pt>
                <c:pt idx="284">
                  <c:v>45170</c:v>
                </c:pt>
                <c:pt idx="285">
                  <c:v>45200</c:v>
                </c:pt>
              </c:numCache>
            </c:numRef>
          </c:cat>
          <c:val>
            <c:numRef>
              <c:f>cpi!$I$4:$I$289</c:f>
              <c:numCache>
                <c:formatCode>General</c:formatCode>
                <c:ptCount val="286"/>
                <c:pt idx="24" formatCode="0.0">
                  <c:v>18.959999999999994</c:v>
                </c:pt>
                <c:pt idx="25" formatCode="0.0">
                  <c:v>17.659999999999997</c:v>
                </c:pt>
                <c:pt idx="26" formatCode="0.0">
                  <c:v>16.760000000000005</c:v>
                </c:pt>
                <c:pt idx="27" formatCode="0.0">
                  <c:v>16.040000000000006</c:v>
                </c:pt>
                <c:pt idx="28" formatCode="0.0">
                  <c:v>15.939999999999998</c:v>
                </c:pt>
                <c:pt idx="29" formatCode="0.0">
                  <c:v>14.689999999999998</c:v>
                </c:pt>
                <c:pt idx="30" formatCode="0.0">
                  <c:v>15</c:v>
                </c:pt>
                <c:pt idx="31" formatCode="0.0">
                  <c:v>15.090000000000003</c:v>
                </c:pt>
                <c:pt idx="32" formatCode="0.0">
                  <c:v>14.86</c:v>
                </c:pt>
                <c:pt idx="33" formatCode="0.0">
                  <c:v>14.840000000000003</c:v>
                </c:pt>
                <c:pt idx="34" formatCode="0.0">
                  <c:v>15.120000000000005</c:v>
                </c:pt>
                <c:pt idx="35" formatCode="0.0">
                  <c:v>15.060000000000002</c:v>
                </c:pt>
                <c:pt idx="36" formatCode="0.0">
                  <c:v>14.290000000000006</c:v>
                </c:pt>
                <c:pt idx="37" formatCode="0.0">
                  <c:v>14.819999999999993</c:v>
                </c:pt>
                <c:pt idx="38" formatCode="0.0">
                  <c:v>14.780000000000001</c:v>
                </c:pt>
                <c:pt idx="39" formatCode="0.0">
                  <c:v>14.620000000000005</c:v>
                </c:pt>
                <c:pt idx="40" formatCode="0.0">
                  <c:v>13.620000000000005</c:v>
                </c:pt>
                <c:pt idx="41" formatCode="0.0">
                  <c:v>13.930000000000007</c:v>
                </c:pt>
                <c:pt idx="42" formatCode="0.0">
                  <c:v>13.920000000000002</c:v>
                </c:pt>
                <c:pt idx="43" formatCode="0.0">
                  <c:v>13.340000000000003</c:v>
                </c:pt>
                <c:pt idx="44" formatCode="0.0">
                  <c:v>13.280000000000001</c:v>
                </c:pt>
                <c:pt idx="45" formatCode="0.0">
                  <c:v>13.200000000000003</c:v>
                </c:pt>
                <c:pt idx="46" formatCode="0.0">
                  <c:v>12.469999999999999</c:v>
                </c:pt>
                <c:pt idx="47" formatCode="0.0">
                  <c:v>11.989999999999995</c:v>
                </c:pt>
                <c:pt idx="48" formatCode="0.0">
                  <c:v>11.280000000000001</c:v>
                </c:pt>
                <c:pt idx="49" formatCode="0.0">
                  <c:v>10.579999999999998</c:v>
                </c:pt>
                <c:pt idx="50" formatCode="0.0">
                  <c:v>10.25</c:v>
                </c:pt>
                <c:pt idx="51" formatCode="0.0">
                  <c:v>10.219999999999999</c:v>
                </c:pt>
                <c:pt idx="52" formatCode="0.0">
                  <c:v>10.150000000000006</c:v>
                </c:pt>
                <c:pt idx="53" formatCode="0.0">
                  <c:v>10.120000000000005</c:v>
                </c:pt>
                <c:pt idx="54" formatCode="0.0">
                  <c:v>10.349999999999994</c:v>
                </c:pt>
                <c:pt idx="55" formatCode="0.0">
                  <c:v>11.280000000000001</c:v>
                </c:pt>
                <c:pt idx="56" formatCode="0.0">
                  <c:v>11.370000000000005</c:v>
                </c:pt>
                <c:pt idx="57" formatCode="0.0">
                  <c:v>11.519999999999996</c:v>
                </c:pt>
                <c:pt idx="58" formatCode="0.0">
                  <c:v>11.689999999999998</c:v>
                </c:pt>
                <c:pt idx="59" formatCode="0.0">
                  <c:v>11.730000000000004</c:v>
                </c:pt>
                <c:pt idx="60" formatCode="0.0">
                  <c:v>12.689999999999998</c:v>
                </c:pt>
                <c:pt idx="61" formatCode="0.0">
                  <c:v>12.950000000000003</c:v>
                </c:pt>
                <c:pt idx="62" formatCode="0.0">
                  <c:v>13.61</c:v>
                </c:pt>
                <c:pt idx="63" formatCode="0.0">
                  <c:v>13.760000000000005</c:v>
                </c:pt>
                <c:pt idx="64" formatCode="0.0">
                  <c:v>13.829999999999998</c:v>
                </c:pt>
                <c:pt idx="65" formatCode="0.0">
                  <c:v>13.680000000000007</c:v>
                </c:pt>
                <c:pt idx="66" formatCode="0.0">
                  <c:v>13.159999999999997</c:v>
                </c:pt>
                <c:pt idx="67" formatCode="0.0">
                  <c:v>12.530000000000001</c:v>
                </c:pt>
                <c:pt idx="68" formatCode="0.0">
                  <c:v>12.329999999999998</c:v>
                </c:pt>
                <c:pt idx="69" formatCode="0.0">
                  <c:v>11.680000000000007</c:v>
                </c:pt>
                <c:pt idx="70" formatCode="0.0">
                  <c:v>11.269999999999996</c:v>
                </c:pt>
                <c:pt idx="71" formatCode="0.0">
                  <c:v>10.920000000000002</c:v>
                </c:pt>
                <c:pt idx="72" formatCode="0.0">
                  <c:v>10.709999999999994</c:v>
                </c:pt>
                <c:pt idx="73" formatCode="0.0">
                  <c:v>11.189999999999998</c:v>
                </c:pt>
                <c:pt idx="74" formatCode="0.0">
                  <c:v>10.61</c:v>
                </c:pt>
                <c:pt idx="75" formatCode="0.0">
                  <c:v>9.769999999999996</c:v>
                </c:pt>
                <c:pt idx="76" formatCode="0.0">
                  <c:v>9.4300000000000068</c:v>
                </c:pt>
                <c:pt idx="77" formatCode="0.0">
                  <c:v>9.0400000000000063</c:v>
                </c:pt>
                <c:pt idx="78" formatCode="0.0">
                  <c:v>9.2600000000000051</c:v>
                </c:pt>
                <c:pt idx="79" formatCode="0.0">
                  <c:v>9.6200000000000045</c:v>
                </c:pt>
                <c:pt idx="80" formatCode="0.0">
                  <c:v>9.4500000000000028</c:v>
                </c:pt>
                <c:pt idx="81" formatCode="0.0">
                  <c:v>9.1500000000000057</c:v>
                </c:pt>
                <c:pt idx="82" formatCode="0.0">
                  <c:v>9.0300000000000011</c:v>
                </c:pt>
                <c:pt idx="83" formatCode="0.0">
                  <c:v>9</c:v>
                </c:pt>
                <c:pt idx="84" formatCode="0.0">
                  <c:v>8.2000000000000028</c:v>
                </c:pt>
                <c:pt idx="85" formatCode="0.0">
                  <c:v>7.6200000000000045</c:v>
                </c:pt>
                <c:pt idx="86" formatCode="0.0">
                  <c:v>7.3799999999999955</c:v>
                </c:pt>
                <c:pt idx="87" formatCode="0.0">
                  <c:v>7.6099999999999994</c:v>
                </c:pt>
                <c:pt idx="88" formatCode="0.0">
                  <c:v>7.769999999999996</c:v>
                </c:pt>
                <c:pt idx="89" formatCode="0.0">
                  <c:v>8.4899999999999949</c:v>
                </c:pt>
                <c:pt idx="90" formatCode="0.0">
                  <c:v>8.7000000000000028</c:v>
                </c:pt>
                <c:pt idx="91" formatCode="0.0">
                  <c:v>8.5999999999999943</c:v>
                </c:pt>
                <c:pt idx="92" formatCode="0.0">
                  <c:v>9.36</c:v>
                </c:pt>
                <c:pt idx="93" formatCode="0.0">
                  <c:v>10.840000000000003</c:v>
                </c:pt>
                <c:pt idx="94" formatCode="0.0">
                  <c:v>11.489999999999995</c:v>
                </c:pt>
                <c:pt idx="95" formatCode="0.0">
                  <c:v>11.870000000000005</c:v>
                </c:pt>
                <c:pt idx="96" formatCode="0.0">
                  <c:v>12.560000000000002</c:v>
                </c:pt>
                <c:pt idx="97" formatCode="0.0">
                  <c:v>12.659999999999997</c:v>
                </c:pt>
                <c:pt idx="98" formatCode="0.0">
                  <c:v>13.340000000000003</c:v>
                </c:pt>
                <c:pt idx="99" formatCode="0.0">
                  <c:v>14.299999999999997</c:v>
                </c:pt>
                <c:pt idx="100" formatCode="0.0">
                  <c:v>15.11</c:v>
                </c:pt>
                <c:pt idx="101" formatCode="0.0">
                  <c:v>15.129999999999995</c:v>
                </c:pt>
                <c:pt idx="102" formatCode="0.0">
                  <c:v>14.709999999999994</c:v>
                </c:pt>
                <c:pt idx="103" formatCode="0.0">
                  <c:v>15.019999999999996</c:v>
                </c:pt>
                <c:pt idx="104" formatCode="0.0">
                  <c:v>15.030000000000001</c:v>
                </c:pt>
                <c:pt idx="105" formatCode="0.0">
                  <c:v>14.209999999999994</c:v>
                </c:pt>
                <c:pt idx="106" formatCode="0.0">
                  <c:v>13.769999999999996</c:v>
                </c:pt>
                <c:pt idx="107" formatCode="0.0">
                  <c:v>13.280000000000001</c:v>
                </c:pt>
                <c:pt idx="108" formatCode="0.0">
                  <c:v>13.349999999999994</c:v>
                </c:pt>
                <c:pt idx="109" formatCode="0.0">
                  <c:v>13.849999999999994</c:v>
                </c:pt>
                <c:pt idx="110" formatCode="0.0">
                  <c:v>13.969999999999999</c:v>
                </c:pt>
                <c:pt idx="111" formatCode="0.0">
                  <c:v>13.150000000000006</c:v>
                </c:pt>
                <c:pt idx="112" formatCode="0.0">
                  <c:v>12.290000000000006</c:v>
                </c:pt>
                <c:pt idx="113" formatCode="0.0">
                  <c:v>11.879999999999995</c:v>
                </c:pt>
                <c:pt idx="114" formatCode="0.0">
                  <c:v>12.030000000000001</c:v>
                </c:pt>
                <c:pt idx="115" formatCode="0.0">
                  <c:v>11.629999999999995</c:v>
                </c:pt>
                <c:pt idx="116" formatCode="0.0">
                  <c:v>10.709999999999994</c:v>
                </c:pt>
                <c:pt idx="117" formatCode="0.0">
                  <c:v>9.7099999999999937</c:v>
                </c:pt>
                <c:pt idx="118" formatCode="0.0">
                  <c:v>9.11</c:v>
                </c:pt>
                <c:pt idx="119" formatCode="0.0">
                  <c:v>8.7999999999999972</c:v>
                </c:pt>
                <c:pt idx="120" formatCode="0.0">
                  <c:v>8.019999999999996</c:v>
                </c:pt>
                <c:pt idx="121" formatCode="0.0">
                  <c:v>7.1800000000000068</c:v>
                </c:pt>
                <c:pt idx="122" formatCode="0.0">
                  <c:v>6.4699999999999989</c:v>
                </c:pt>
                <c:pt idx="123" formatCode="0.0">
                  <c:v>6.0400000000000063</c:v>
                </c:pt>
                <c:pt idx="124" formatCode="0.0">
                  <c:v>5.9699999999999989</c:v>
                </c:pt>
                <c:pt idx="125" formatCode="0.0">
                  <c:v>5.75</c:v>
                </c:pt>
                <c:pt idx="126" formatCode="0.0">
                  <c:v>5.4699999999999989</c:v>
                </c:pt>
                <c:pt idx="127" formatCode="0.0">
                  <c:v>6.0499999999999972</c:v>
                </c:pt>
                <c:pt idx="128" formatCode="0.0">
                  <c:v>6.9699999999999989</c:v>
                </c:pt>
                <c:pt idx="129" formatCode="0.0">
                  <c:v>7.5</c:v>
                </c:pt>
                <c:pt idx="130" formatCode="0.0">
                  <c:v>8.0600000000000023</c:v>
                </c:pt>
                <c:pt idx="131" formatCode="0.0">
                  <c:v>8.7800000000000011</c:v>
                </c:pt>
                <c:pt idx="132" formatCode="0.0">
                  <c:v>9.5600000000000023</c:v>
                </c:pt>
                <c:pt idx="133" formatCode="0.0">
                  <c:v>9.480000000000004</c:v>
                </c:pt>
                <c:pt idx="134" formatCode="0.0">
                  <c:v>9.4699999999999989</c:v>
                </c:pt>
                <c:pt idx="135" formatCode="0.0">
                  <c:v>9.6200000000000045</c:v>
                </c:pt>
                <c:pt idx="136" formatCode="0.0">
                  <c:v>9.5999999999999943</c:v>
                </c:pt>
                <c:pt idx="137" formatCode="0.0">
                  <c:v>9.4200000000000017</c:v>
                </c:pt>
                <c:pt idx="138" formatCode="0.0">
                  <c:v>9.0100000000000051</c:v>
                </c:pt>
                <c:pt idx="139" formatCode="0.0">
                  <c:v>8.1500000000000057</c:v>
                </c:pt>
                <c:pt idx="140" formatCode="0.0">
                  <c:v>7.2099999999999937</c:v>
                </c:pt>
                <c:pt idx="141" formatCode="0.0">
                  <c:v>7.1899999999999977</c:v>
                </c:pt>
                <c:pt idx="142" formatCode="0.0">
                  <c:v>6.7800000000000011</c:v>
                </c:pt>
                <c:pt idx="143" formatCode="0.0">
                  <c:v>6.0999999999999943</c:v>
                </c:pt>
                <c:pt idx="144" formatCode="0.0">
                  <c:v>4.1599999999999966</c:v>
                </c:pt>
                <c:pt idx="145" formatCode="0.0">
                  <c:v>3.730000000000004</c:v>
                </c:pt>
                <c:pt idx="146" formatCode="0.0">
                  <c:v>3.7000000000000028</c:v>
                </c:pt>
                <c:pt idx="147" formatCode="0.0">
                  <c:v>3.5699999999999932</c:v>
                </c:pt>
                <c:pt idx="148" formatCode="0.0">
                  <c:v>3.6099999999999994</c:v>
                </c:pt>
                <c:pt idx="149" formatCode="0.0">
                  <c:v>4.2900000000000063</c:v>
                </c:pt>
                <c:pt idx="150" formatCode="0.0">
                  <c:v>5.5799999999999983</c:v>
                </c:pt>
                <c:pt idx="151" formatCode="0.0">
                  <c:v>5.9399999999999977</c:v>
                </c:pt>
                <c:pt idx="152" formatCode="0.0">
                  <c:v>6.5699999999999932</c:v>
                </c:pt>
                <c:pt idx="153" formatCode="0.0">
                  <c:v>6.5400000000000063</c:v>
                </c:pt>
                <c:pt idx="154" formatCode="0.0">
                  <c:v>6.4599999999999937</c:v>
                </c:pt>
                <c:pt idx="155" formatCode="0.0">
                  <c:v>6.5699999999999932</c:v>
                </c:pt>
                <c:pt idx="156" formatCode="0.0">
                  <c:v>7.0699999999999932</c:v>
                </c:pt>
                <c:pt idx="157" formatCode="0.0">
                  <c:v>7.2800000000000011</c:v>
                </c:pt>
                <c:pt idx="158" formatCode="0.0">
                  <c:v>7.019999999999996</c:v>
                </c:pt>
                <c:pt idx="159" formatCode="0.0">
                  <c:v>7.2399999999999949</c:v>
                </c:pt>
                <c:pt idx="160" formatCode="0.0">
                  <c:v>7.3900000000000006</c:v>
                </c:pt>
                <c:pt idx="161" formatCode="0.0">
                  <c:v>6.8900000000000006</c:v>
                </c:pt>
                <c:pt idx="162" formatCode="0.0">
                  <c:v>6.4599999999999937</c:v>
                </c:pt>
                <c:pt idx="163" formatCode="0.0">
                  <c:v>6.5100000000000051</c:v>
                </c:pt>
                <c:pt idx="164" formatCode="0.0">
                  <c:v>6.1400000000000006</c:v>
                </c:pt>
                <c:pt idx="165" formatCode="0.0">
                  <c:v>6.269999999999996</c:v>
                </c:pt>
                <c:pt idx="166" formatCode="0.0">
                  <c:v>6.5</c:v>
                </c:pt>
                <c:pt idx="167" formatCode="0.0">
                  <c:v>6.4699999999999989</c:v>
                </c:pt>
                <c:pt idx="168" formatCode="0.0">
                  <c:v>6.0699999999999932</c:v>
                </c:pt>
                <c:pt idx="169" formatCode="0.0">
                  <c:v>6.2099999999999937</c:v>
                </c:pt>
                <c:pt idx="170" formatCode="0.0">
                  <c:v>6.9200000000000017</c:v>
                </c:pt>
                <c:pt idx="171" formatCode="0.0">
                  <c:v>7.3299999999999983</c:v>
                </c:pt>
                <c:pt idx="172" formatCode="0.0">
                  <c:v>7.5900000000000034</c:v>
                </c:pt>
                <c:pt idx="173" formatCode="0.0">
                  <c:v>7.8100000000000023</c:v>
                </c:pt>
                <c:pt idx="174" formatCode="0.0">
                  <c:v>7.4500000000000028</c:v>
                </c:pt>
                <c:pt idx="175" formatCode="0.0">
                  <c:v>7.5499999999999972</c:v>
                </c:pt>
                <c:pt idx="176" formatCode="0.0">
                  <c:v>8.0300000000000011</c:v>
                </c:pt>
                <c:pt idx="177" formatCode="0.0">
                  <c:v>8.2900000000000063</c:v>
                </c:pt>
                <c:pt idx="178" formatCode="0.0">
                  <c:v>9.0600000000000023</c:v>
                </c:pt>
                <c:pt idx="179" formatCode="0.0">
                  <c:v>11.349999999999994</c:v>
                </c:pt>
                <c:pt idx="180" formatCode="0.0">
                  <c:v>14.959999999999994</c:v>
                </c:pt>
                <c:pt idx="181" formatCode="0.0">
                  <c:v>16.700000000000003</c:v>
                </c:pt>
                <c:pt idx="182" formatCode="0.0">
                  <c:v>16.920000000000002</c:v>
                </c:pt>
                <c:pt idx="183" formatCode="0.0">
                  <c:v>16.409999999999997</c:v>
                </c:pt>
                <c:pt idx="184" formatCode="0.0">
                  <c:v>15.780000000000001</c:v>
                </c:pt>
                <c:pt idx="185" formatCode="0.0">
                  <c:v>15.280000000000001</c:v>
                </c:pt>
                <c:pt idx="186" formatCode="0.0">
                  <c:v>15.64</c:v>
                </c:pt>
                <c:pt idx="187" formatCode="0.0">
                  <c:v>15.769999999999996</c:v>
                </c:pt>
                <c:pt idx="188" formatCode="0.0">
                  <c:v>15.680000000000007</c:v>
                </c:pt>
                <c:pt idx="189" formatCode="0.0">
                  <c:v>15.590000000000003</c:v>
                </c:pt>
                <c:pt idx="190" formatCode="0.0">
                  <c:v>14.980000000000004</c:v>
                </c:pt>
                <c:pt idx="191" formatCode="0.0">
                  <c:v>12.909999999999997</c:v>
                </c:pt>
                <c:pt idx="192" formatCode="0.0">
                  <c:v>9.769999999999996</c:v>
                </c:pt>
                <c:pt idx="193" formatCode="0.0">
                  <c:v>8.0600000000000023</c:v>
                </c:pt>
                <c:pt idx="194" formatCode="0.0">
                  <c:v>7.269999999999996</c:v>
                </c:pt>
                <c:pt idx="195" formatCode="0.0">
                  <c:v>7.25</c:v>
                </c:pt>
                <c:pt idx="196" formatCode="0.0">
                  <c:v>7.3100000000000023</c:v>
                </c:pt>
                <c:pt idx="197" formatCode="0.0">
                  <c:v>7.4899999999999949</c:v>
                </c:pt>
                <c:pt idx="198" formatCode="0.0">
                  <c:v>7.2099999999999937</c:v>
                </c:pt>
                <c:pt idx="199" formatCode="0.0">
                  <c:v>6.8499999999999943</c:v>
                </c:pt>
                <c:pt idx="200" formatCode="0.0">
                  <c:v>6.4300000000000068</c:v>
                </c:pt>
                <c:pt idx="201" formatCode="0.0">
                  <c:v>6.0999999999999943</c:v>
                </c:pt>
                <c:pt idx="202" formatCode="0.0">
                  <c:v>5.7800000000000011</c:v>
                </c:pt>
                <c:pt idx="203" formatCode="0.0">
                  <c:v>5.3900000000000006</c:v>
                </c:pt>
                <c:pt idx="204" formatCode="0.0">
                  <c:v>5.0400000000000063</c:v>
                </c:pt>
                <c:pt idx="205" formatCode="0.0">
                  <c:v>4.5999999999999943</c:v>
                </c:pt>
                <c:pt idx="206" formatCode="0.0">
                  <c:v>4.25</c:v>
                </c:pt>
                <c:pt idx="207" formatCode="0.0">
                  <c:v>4.1400000000000006</c:v>
                </c:pt>
                <c:pt idx="208" formatCode="0.0">
                  <c:v>4.0900000000000034</c:v>
                </c:pt>
                <c:pt idx="209" formatCode="0.0">
                  <c:v>4.3499999999999943</c:v>
                </c:pt>
                <c:pt idx="210" formatCode="0.0">
                  <c:v>3.8599999999999994</c:v>
                </c:pt>
                <c:pt idx="211" formatCode="0.0">
                  <c:v>3.2900000000000063</c:v>
                </c:pt>
                <c:pt idx="212" formatCode="0.0">
                  <c:v>2.9599999999999937</c:v>
                </c:pt>
                <c:pt idx="213" formatCode="0.0">
                  <c:v>2.7199999999999989</c:v>
                </c:pt>
                <c:pt idx="214" formatCode="0.0">
                  <c:v>2.4899999999999949</c:v>
                </c:pt>
                <c:pt idx="215" formatCode="0.0">
                  <c:v>2.5100000000000051</c:v>
                </c:pt>
                <c:pt idx="216" formatCode="0.0">
                  <c:v>2.1899999999999977</c:v>
                </c:pt>
                <c:pt idx="217" formatCode="0.0">
                  <c:v>2.1800000000000068</c:v>
                </c:pt>
                <c:pt idx="218" formatCode="0.0">
                  <c:v>2.3499999999999943</c:v>
                </c:pt>
                <c:pt idx="219" formatCode="0.0">
                  <c:v>2.4000000000000057</c:v>
                </c:pt>
                <c:pt idx="220" formatCode="0.0">
                  <c:v>2.4099999999999966</c:v>
                </c:pt>
                <c:pt idx="221" formatCode="0.0">
                  <c:v>2.2900000000000063</c:v>
                </c:pt>
                <c:pt idx="222" formatCode="0.0">
                  <c:v>2.5</c:v>
                </c:pt>
                <c:pt idx="223" formatCode="0.0">
                  <c:v>3.0600000000000023</c:v>
                </c:pt>
                <c:pt idx="224" formatCode="0.0">
                  <c:v>3.3799999999999955</c:v>
                </c:pt>
                <c:pt idx="225" formatCode="0.0">
                  <c:v>3.5400000000000063</c:v>
                </c:pt>
                <c:pt idx="226" formatCode="0.0">
                  <c:v>3.8299999999999983</c:v>
                </c:pt>
                <c:pt idx="227" formatCode="0.0">
                  <c:v>4.2600000000000051</c:v>
                </c:pt>
                <c:pt idx="228" formatCode="0.0">
                  <c:v>4.9899999999999949</c:v>
                </c:pt>
                <c:pt idx="229" formatCode="0.0">
                  <c:v>5.2199999999999989</c:v>
                </c:pt>
                <c:pt idx="230" formatCode="0.0">
                  <c:v>5.25</c:v>
                </c:pt>
                <c:pt idx="231" formatCode="0.0">
                  <c:v>5.1700000000000017</c:v>
                </c:pt>
                <c:pt idx="232" formatCode="0.0">
                  <c:v>5.1299999999999955</c:v>
                </c:pt>
                <c:pt idx="233" formatCode="0.0">
                  <c:v>4.6599999999999966</c:v>
                </c:pt>
                <c:pt idx="234" formatCode="0.0">
                  <c:v>4.5799999999999983</c:v>
                </c:pt>
                <c:pt idx="235" formatCode="0.0">
                  <c:v>4.5799999999999983</c:v>
                </c:pt>
                <c:pt idx="236" formatCode="0.0">
                  <c:v>4.3100000000000023</c:v>
                </c:pt>
                <c:pt idx="237" formatCode="0.0">
                  <c:v>3.9899999999999949</c:v>
                </c:pt>
                <c:pt idx="238" formatCode="0.0">
                  <c:v>3.75</c:v>
                </c:pt>
                <c:pt idx="239" formatCode="0.0">
                  <c:v>3.5300000000000011</c:v>
                </c:pt>
                <c:pt idx="240" formatCode="0.0">
                  <c:v>3.0400000000000063</c:v>
                </c:pt>
                <c:pt idx="241" formatCode="0.0">
                  <c:v>2.4200000000000017</c:v>
                </c:pt>
                <c:pt idx="242" formatCode="0.0">
                  <c:v>2.3100000000000023</c:v>
                </c:pt>
                <c:pt idx="243" formatCode="0.0">
                  <c:v>2.5400000000000063</c:v>
                </c:pt>
                <c:pt idx="244" formatCode="0.0">
                  <c:v>3.0900000000000034</c:v>
                </c:pt>
                <c:pt idx="245" formatCode="0.0">
                  <c:v>3.019999999999996</c:v>
                </c:pt>
                <c:pt idx="246" formatCode="0.0">
                  <c:v>3.2099999999999937</c:v>
                </c:pt>
                <c:pt idx="247" formatCode="0.0">
                  <c:v>3.3700000000000045</c:v>
                </c:pt>
                <c:pt idx="248" formatCode="0.0">
                  <c:v>3.5799999999999983</c:v>
                </c:pt>
                <c:pt idx="249" formatCode="0.0">
                  <c:v>3.6700000000000017</c:v>
                </c:pt>
                <c:pt idx="250" formatCode="0.0">
                  <c:v>3.9899999999999949</c:v>
                </c:pt>
                <c:pt idx="251" formatCode="0.0">
                  <c:v>4.4200000000000017</c:v>
                </c:pt>
                <c:pt idx="252" formatCode="0.0">
                  <c:v>4.9099999999999966</c:v>
                </c:pt>
                <c:pt idx="253" formatCode="0.0">
                  <c:v>5.1899999999999977</c:v>
                </c:pt>
                <c:pt idx="254" formatCode="0.0">
                  <c:v>5.6700000000000017</c:v>
                </c:pt>
                <c:pt idx="255" formatCode="0.0">
                  <c:v>5.7900000000000063</c:v>
                </c:pt>
                <c:pt idx="256" formatCode="0.0">
                  <c:v>5.5300000000000011</c:v>
                </c:pt>
                <c:pt idx="257" formatCode="0.0">
                  <c:v>6.019999999999996</c:v>
                </c:pt>
                <c:pt idx="258" formatCode="0.0">
                  <c:v>6.5</c:v>
                </c:pt>
                <c:pt idx="259" formatCode="0.0">
                  <c:v>6.4599999999999937</c:v>
                </c:pt>
                <c:pt idx="260" formatCode="0.0">
                  <c:v>6.6800000000000068</c:v>
                </c:pt>
                <c:pt idx="261" formatCode="0.0">
                  <c:v>7.4000000000000057</c:v>
                </c:pt>
                <c:pt idx="262" formatCode="0.0">
                  <c:v>8.1299999999999955</c:v>
                </c:pt>
                <c:pt idx="263" formatCode="0.0">
                  <c:v>8.4000000000000057</c:v>
                </c:pt>
                <c:pt idx="264" formatCode="0.0">
                  <c:v>8.39</c:v>
                </c:pt>
                <c:pt idx="265" formatCode="0.0">
                  <c:v>8.730000000000004</c:v>
                </c:pt>
                <c:pt idx="266" formatCode="0.0">
                  <c:v>9.1500000000000057</c:v>
                </c:pt>
                <c:pt idx="267" formatCode="0.0">
                  <c:v>16.689999999999998</c:v>
                </c:pt>
                <c:pt idx="268" formatCode="0.0">
                  <c:v>17.829999999999998</c:v>
                </c:pt>
                <c:pt idx="269" formatCode="0.0">
                  <c:v>17.099999999999994</c:v>
                </c:pt>
                <c:pt idx="270" formatCode="0.0">
                  <c:v>15.900000000000006</c:v>
                </c:pt>
                <c:pt idx="271" formatCode="0.0">
                  <c:v>15.099999999999994</c:v>
                </c:pt>
                <c:pt idx="272" formatCode="0.0">
                  <c:v>14.299999999999997</c:v>
                </c:pt>
                <c:pt idx="273" formatCode="0.0">
                  <c:v>13.680000000000007</c:v>
                </c:pt>
                <c:pt idx="274" formatCode="0.0">
                  <c:v>12.629999999999995</c:v>
                </c:pt>
                <c:pt idx="275" formatCode="0.0">
                  <c:v>11.980000000000004</c:v>
                </c:pt>
                <c:pt idx="276" formatCode="0.0">
                  <c:v>11.939999999999998</c:v>
                </c:pt>
                <c:pt idx="277" formatCode="0.0">
                  <c:v>10.989999999999995</c:v>
                </c:pt>
                <c:pt idx="278" formatCode="0.0">
                  <c:v>3.5100000000000051</c:v>
                </c:pt>
                <c:pt idx="279" formatCode="0.0">
                  <c:v>2.3100000000000023</c:v>
                </c:pt>
                <c:pt idx="280" formatCode="0.0">
                  <c:v>2.5100000000000051</c:v>
                </c:pt>
                <c:pt idx="281" formatCode="0.0">
                  <c:v>3.25</c:v>
                </c:pt>
                <c:pt idx="282" formatCode="0.0">
                  <c:v>4.2999999999999972</c:v>
                </c:pt>
                <c:pt idx="283" formatCode="0.0">
                  <c:v>5.1500000000000057</c:v>
                </c:pt>
                <c:pt idx="284" formatCode="0.0">
                  <c:v>6</c:v>
                </c:pt>
                <c:pt idx="285">
                  <c:v>6.6899999999999977</c:v>
                </c:pt>
              </c:numCache>
            </c:numRef>
          </c:val>
          <c:smooth val="0"/>
          <c:extLst>
            <c:ext xmlns:c16="http://schemas.microsoft.com/office/drawing/2014/chart" uri="{C3380CC4-5D6E-409C-BE32-E72D297353CC}">
              <c16:uniqueId val="{00000002-1319-4D2C-B974-861928016DC7}"/>
            </c:ext>
          </c:extLst>
        </c:ser>
        <c:dLbls>
          <c:showLegendKey val="0"/>
          <c:showVal val="0"/>
          <c:showCatName val="0"/>
          <c:showSerName val="0"/>
          <c:showPercent val="0"/>
          <c:showBubbleSize val="0"/>
        </c:dLbls>
        <c:smooth val="0"/>
        <c:axId val="1325521920"/>
        <c:axId val="1325566208"/>
      </c:lineChart>
      <c:dateAx>
        <c:axId val="1325521920"/>
        <c:scaling>
          <c:orientation val="minMax"/>
        </c:scaling>
        <c:delete val="0"/>
        <c:axPos val="b"/>
        <c:numFmt formatCode="yyyy" sourceLinked="0"/>
        <c:majorTickMark val="out"/>
        <c:minorTickMark val="none"/>
        <c:tickLblPos val="low"/>
        <c:spPr>
          <a:ln w="3175">
            <a:solidFill>
              <a:srgbClr val="000000"/>
            </a:solidFill>
            <a:prstDash val="solid"/>
          </a:ln>
        </c:spPr>
        <c:txPr>
          <a:bodyPr rot="0" vert="horz"/>
          <a:lstStyle/>
          <a:p>
            <a:pPr>
              <a:defRPr/>
            </a:pPr>
            <a:endParaRPr lang="ru-RU"/>
          </a:p>
        </c:txPr>
        <c:crossAx val="1325566208"/>
        <c:crossesAt val="-50"/>
        <c:auto val="1"/>
        <c:lblOffset val="0"/>
        <c:baseTimeUnit val="months"/>
        <c:majorUnit val="24"/>
        <c:majorTimeUnit val="months"/>
        <c:minorUnit val="1"/>
      </c:dateAx>
      <c:valAx>
        <c:axId val="1325566208"/>
        <c:scaling>
          <c:orientation val="minMax"/>
        </c:scaling>
        <c:delete val="0"/>
        <c:axPos val="l"/>
        <c:majorGridlines>
          <c:spPr>
            <a:ln>
              <a:solidFill>
                <a:sysClr val="window" lastClr="FFFFFF">
                  <a:lumMod val="95000"/>
                </a:sysClr>
              </a:solidFill>
            </a:ln>
          </c:spPr>
        </c:majorGridlines>
        <c:title>
          <c:tx>
            <c:rich>
              <a:bodyPr rot="0" vert="horz"/>
              <a:lstStyle/>
              <a:p>
                <a:pPr>
                  <a:defRPr/>
                </a:pPr>
                <a:r>
                  <a:rPr lang="ru-RU"/>
                  <a:t>% </a:t>
                </a:r>
                <a:r>
                  <a:rPr lang="en-US"/>
                  <a:t>yoy</a:t>
                </a:r>
                <a:endParaRPr lang="ru-RU"/>
              </a:p>
            </c:rich>
          </c:tx>
          <c:layout>
            <c:manualLayout>
              <c:xMode val="edge"/>
              <c:yMode val="edge"/>
              <c:x val="7.0337413472865096E-2"/>
              <c:y val="3.1715925550213547E-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ru-RU"/>
          </a:p>
        </c:txPr>
        <c:crossAx val="1325521920"/>
        <c:crosses val="autoZero"/>
        <c:crossBetween val="between"/>
      </c:valAx>
      <c:spPr>
        <a:noFill/>
        <a:ln w="25400">
          <a:noFill/>
        </a:ln>
      </c:spPr>
    </c:plotArea>
    <c:legend>
      <c:legendPos val="b"/>
      <c:layout>
        <c:manualLayout>
          <c:xMode val="edge"/>
          <c:yMode val="edge"/>
          <c:x val="0.1849060763888889"/>
          <c:y val="1.1237179487179488E-3"/>
          <c:w val="0.8150939236111111"/>
          <c:h val="8.9689316239316252E-2"/>
        </c:manualLayout>
      </c:layout>
      <c:overlay val="0"/>
      <c:spPr>
        <a:noFill/>
        <a:ln w="25400">
          <a:noFill/>
        </a:ln>
      </c:spPr>
      <c:txPr>
        <a:bodyPr/>
        <a:lstStyle/>
        <a:p>
          <a:pPr>
            <a:defRPr sz="1400"/>
          </a:pPr>
          <a:endParaRPr lang="ru-RU"/>
        </a:p>
      </c:txPr>
    </c:legend>
    <c:plotVisOnly val="1"/>
    <c:dispBlanksAs val="gap"/>
    <c:showDLblsOverMax val="0"/>
  </c:chart>
  <c:spPr>
    <a:solidFill>
      <a:sysClr val="window" lastClr="FFFFFF"/>
    </a:solidFill>
    <a:ln w="25400">
      <a:noFill/>
    </a:ln>
  </c:spPr>
  <c:txPr>
    <a:bodyPr/>
    <a:lstStyle/>
    <a:p>
      <a:pPr>
        <a:defRPr sz="1200" b="0" i="0" u="none" strike="noStrike" baseline="0">
          <a:solidFill>
            <a:srgbClr val="373737"/>
          </a:solidFill>
          <a:latin typeface="Arial" panose="020B0604020202020204" pitchFamily="34" charset="0"/>
          <a:ea typeface="Arial Cyr"/>
          <a:cs typeface="Arial" panose="020B0604020202020204" pitchFamily="34" charset="0"/>
        </a:defRPr>
      </a:pPr>
      <a:endParaRPr lang="ru-RU"/>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6615</cdr:x>
      <cdr:y>0.46913</cdr:y>
    </cdr:from>
    <cdr:to>
      <cdr:x>0.99384</cdr:x>
      <cdr:y>0.46913</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ECD80BCF-22D9-6236-C41E-B2FCA15C1C6C}"/>
            </a:ext>
          </a:extLst>
        </cdr:cNvPr>
        <cdr:cNvCxnSpPr/>
      </cdr:nvCxnSpPr>
      <cdr:spPr>
        <a:xfrm xmlns:a="http://schemas.openxmlformats.org/drawingml/2006/main">
          <a:off x="381001" y="2195514"/>
          <a:ext cx="5343525" cy="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07639</cdr:x>
      <cdr:y>0.21588</cdr:y>
    </cdr:from>
    <cdr:to>
      <cdr:x>0.74994</cdr:x>
      <cdr:y>0.30932</cdr:y>
    </cdr:to>
    <cdr:sp macro="" textlink="">
      <cdr:nvSpPr>
        <cdr:cNvPr id="4" name="TextBox 3">
          <a:extLst xmlns:a="http://schemas.openxmlformats.org/drawingml/2006/main">
            <a:ext uri="{FF2B5EF4-FFF2-40B4-BE49-F238E27FC236}">
              <a16:creationId xmlns:a16="http://schemas.microsoft.com/office/drawing/2014/main" id="{59371849-FE8C-E329-28E5-E0BAAA91EDEC}"/>
            </a:ext>
          </a:extLst>
        </cdr:cNvPr>
        <cdr:cNvSpPr txBox="1"/>
      </cdr:nvSpPr>
      <cdr:spPr>
        <a:xfrm xmlns:a="http://schemas.openxmlformats.org/drawingml/2006/main">
          <a:off x="441857" y="1010306"/>
          <a:ext cx="3896140" cy="43732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b="1" dirty="0">
              <a:solidFill>
                <a:srgbClr val="04043A"/>
              </a:solidFill>
              <a:latin typeface="Arial" panose="020B0604020202020204" pitchFamily="34" charset="0"/>
              <a:cs typeface="Arial" panose="020B0604020202020204" pitchFamily="34" charset="0"/>
            </a:rPr>
            <a:t>The US economy accelerated in 2023. 3Q23: + 2.9% </a:t>
          </a:r>
          <a:r>
            <a:rPr lang="en-US" sz="1100" b="1" dirty="0" err="1">
              <a:solidFill>
                <a:srgbClr val="04043A"/>
              </a:solidFill>
              <a:latin typeface="Arial" panose="020B0604020202020204" pitchFamily="34" charset="0"/>
              <a:cs typeface="Arial" panose="020B0604020202020204" pitchFamily="34" charset="0"/>
            </a:rPr>
            <a:t>yoy</a:t>
          </a:r>
          <a:r>
            <a:rPr lang="en-US" sz="1100" b="1" dirty="0">
              <a:solidFill>
                <a:srgbClr val="04043A"/>
              </a:solidFill>
              <a:latin typeface="Arial" panose="020B0604020202020204" pitchFamily="34" charset="0"/>
              <a:cs typeface="Arial" panose="020B0604020202020204" pitchFamily="34" charset="0"/>
            </a:rPr>
            <a:t> </a:t>
          </a:r>
          <a:endParaRPr lang="ru-RU" sz="1100" b="1" dirty="0">
            <a:solidFill>
              <a:srgbClr val="04043A"/>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73619</cdr:x>
      <cdr:y>0.24986</cdr:y>
    </cdr:from>
    <cdr:to>
      <cdr:x>0.97102</cdr:x>
      <cdr:y>0.38011</cdr:y>
    </cdr:to>
    <cdr:cxnSp macro="">
      <cdr:nvCxnSpPr>
        <cdr:cNvPr id="6" name="Прямая со стрелкой 5">
          <a:extLst xmlns:a="http://schemas.openxmlformats.org/drawingml/2006/main">
            <a:ext uri="{FF2B5EF4-FFF2-40B4-BE49-F238E27FC236}">
              <a16:creationId xmlns:a16="http://schemas.microsoft.com/office/drawing/2014/main" id="{E4E41C1D-C40A-6184-1314-2C64E349E91F}"/>
            </a:ext>
          </a:extLst>
        </cdr:cNvPr>
        <cdr:cNvCxnSpPr/>
      </cdr:nvCxnSpPr>
      <cdr:spPr>
        <a:xfrm xmlns:a="http://schemas.openxmlformats.org/drawingml/2006/main">
          <a:off x="4258484" y="1169332"/>
          <a:ext cx="1358348" cy="609600"/>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07639</cdr:x>
      <cdr:y>0.68452</cdr:y>
    </cdr:from>
    <cdr:to>
      <cdr:x>0.63653</cdr:x>
      <cdr:y>0.77796</cdr:y>
    </cdr:to>
    <cdr:sp macro="" textlink="">
      <cdr:nvSpPr>
        <cdr:cNvPr id="8" name="TextBox 7">
          <a:extLst xmlns:a="http://schemas.openxmlformats.org/drawingml/2006/main">
            <a:ext uri="{FF2B5EF4-FFF2-40B4-BE49-F238E27FC236}">
              <a16:creationId xmlns:a16="http://schemas.microsoft.com/office/drawing/2014/main" id="{F69E1964-17AD-A519-C68F-576CE62A8ACF}"/>
            </a:ext>
          </a:extLst>
        </cdr:cNvPr>
        <cdr:cNvSpPr txBox="1"/>
      </cdr:nvSpPr>
      <cdr:spPr>
        <a:xfrm xmlns:a="http://schemas.openxmlformats.org/drawingml/2006/main">
          <a:off x="441857" y="3203541"/>
          <a:ext cx="3240158" cy="43732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b="1" dirty="0">
              <a:solidFill>
                <a:srgbClr val="00B0F0"/>
              </a:solidFill>
              <a:latin typeface="Arial" panose="020B0604020202020204" pitchFamily="34" charset="0"/>
              <a:cs typeface="Arial" panose="020B0604020202020204" pitchFamily="34" charset="0"/>
            </a:rPr>
            <a:t>EU</a:t>
          </a:r>
          <a:r>
            <a:rPr lang="en-US" sz="1100" b="1" dirty="0">
              <a:solidFill>
                <a:srgbClr val="00B0F0"/>
              </a:solidFill>
              <a:latin typeface="Arial" panose="020B0604020202020204" pitchFamily="34" charset="0"/>
              <a:cs typeface="Arial" panose="020B0604020202020204" pitchFamily="34" charset="0"/>
            </a:rPr>
            <a:t> fallen to +0.1% </a:t>
          </a:r>
          <a:r>
            <a:rPr lang="en-US" sz="1100" b="1" dirty="0" err="1">
              <a:solidFill>
                <a:srgbClr val="00B0F0"/>
              </a:solidFill>
              <a:latin typeface="Arial" panose="020B0604020202020204" pitchFamily="34" charset="0"/>
              <a:cs typeface="Arial" panose="020B0604020202020204" pitchFamily="34" charset="0"/>
            </a:rPr>
            <a:t>yoy</a:t>
          </a:r>
          <a:r>
            <a:rPr lang="en-US" sz="1100" b="1" dirty="0">
              <a:solidFill>
                <a:srgbClr val="00B0F0"/>
              </a:solidFill>
              <a:latin typeface="Arial" panose="020B0604020202020204" pitchFamily="34" charset="0"/>
              <a:cs typeface="Arial" panose="020B0604020202020204" pitchFamily="34" charset="0"/>
            </a:rPr>
            <a:t> growth rate by 3Q23</a:t>
          </a:r>
          <a:endParaRPr lang="ru-RU" sz="1100" b="1" dirty="0">
            <a:solidFill>
              <a:srgbClr val="00B0F0"/>
            </a:solidFill>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638</cdr:x>
      <cdr:y>0.46768</cdr:y>
    </cdr:from>
    <cdr:to>
      <cdr:x>0.99149</cdr:x>
      <cdr:y>0.46768</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ECD80BCF-22D9-6236-C41E-B2FCA15C1C6C}"/>
            </a:ext>
          </a:extLst>
        </cdr:cNvPr>
        <cdr:cNvCxnSpPr/>
      </cdr:nvCxnSpPr>
      <cdr:spPr>
        <a:xfrm xmlns:a="http://schemas.openxmlformats.org/drawingml/2006/main">
          <a:off x="369037" y="2188724"/>
          <a:ext cx="5366217" cy="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09216</cdr:x>
      <cdr:y>0.75059</cdr:y>
    </cdr:from>
    <cdr:to>
      <cdr:x>0.70574</cdr:x>
      <cdr:y>0.85583</cdr:y>
    </cdr:to>
    <cdr:sp macro="" textlink="">
      <cdr:nvSpPr>
        <cdr:cNvPr id="2" name="TextBox 1">
          <a:extLst xmlns:a="http://schemas.openxmlformats.org/drawingml/2006/main">
            <a:ext uri="{FF2B5EF4-FFF2-40B4-BE49-F238E27FC236}">
              <a16:creationId xmlns:a16="http://schemas.microsoft.com/office/drawing/2014/main" id="{161AFCAD-8F66-DAB7-82A0-B2605CCA400E}"/>
            </a:ext>
          </a:extLst>
        </cdr:cNvPr>
        <cdr:cNvSpPr txBox="1"/>
      </cdr:nvSpPr>
      <cdr:spPr>
        <a:xfrm xmlns:a="http://schemas.openxmlformats.org/drawingml/2006/main">
          <a:off x="533074" y="3512759"/>
          <a:ext cx="3549256" cy="49253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b="1" dirty="0">
              <a:solidFill>
                <a:srgbClr val="04043A"/>
              </a:solidFill>
              <a:latin typeface="Arial" panose="020B0604020202020204" pitchFamily="34" charset="0"/>
              <a:cs typeface="Arial" panose="020B0604020202020204" pitchFamily="34" charset="0"/>
            </a:rPr>
            <a:t>Russian economy return to growth in 2023</a:t>
          </a:r>
        </a:p>
        <a:p xmlns:a="http://schemas.openxmlformats.org/drawingml/2006/main">
          <a:r>
            <a:rPr lang="en-US" sz="1100" b="1" dirty="0">
              <a:solidFill>
                <a:srgbClr val="04043A"/>
              </a:solidFill>
              <a:latin typeface="Arial" panose="020B0604020202020204" pitchFamily="34" charset="0"/>
              <a:cs typeface="Arial" panose="020B0604020202020204" pitchFamily="34" charset="0"/>
            </a:rPr>
            <a:t>+5.5% </a:t>
          </a:r>
          <a:r>
            <a:rPr lang="en-US" sz="1100" b="1" dirty="0" err="1">
              <a:solidFill>
                <a:srgbClr val="04043A"/>
              </a:solidFill>
              <a:latin typeface="Arial" panose="020B0604020202020204" pitchFamily="34" charset="0"/>
              <a:cs typeface="Arial" panose="020B0604020202020204" pitchFamily="34" charset="0"/>
            </a:rPr>
            <a:t>yoy</a:t>
          </a:r>
          <a:r>
            <a:rPr lang="en-US" sz="1100" b="1" dirty="0">
              <a:solidFill>
                <a:srgbClr val="04043A"/>
              </a:solidFill>
              <a:latin typeface="Arial" panose="020B0604020202020204" pitchFamily="34" charset="0"/>
              <a:cs typeface="Arial" panose="020B0604020202020204" pitchFamily="34" charset="0"/>
            </a:rPr>
            <a:t> in 3Q23</a:t>
          </a:r>
          <a:endParaRPr lang="ru-RU" sz="1100" b="1" dirty="0">
            <a:solidFill>
              <a:srgbClr val="04043A"/>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20906</cdr:x>
      <cdr:y>0.18803</cdr:y>
    </cdr:from>
    <cdr:to>
      <cdr:x>0.82264</cdr:x>
      <cdr:y>0.29328</cdr:y>
    </cdr:to>
    <cdr:sp macro="" textlink="">
      <cdr:nvSpPr>
        <cdr:cNvPr id="4" name="TextBox 1">
          <a:extLst xmlns:a="http://schemas.openxmlformats.org/drawingml/2006/main">
            <a:ext uri="{FF2B5EF4-FFF2-40B4-BE49-F238E27FC236}">
              <a16:creationId xmlns:a16="http://schemas.microsoft.com/office/drawing/2014/main" id="{A7719C84-CFD6-4B4E-AADC-63647D5429C0}"/>
            </a:ext>
          </a:extLst>
        </cdr:cNvPr>
        <cdr:cNvSpPr txBox="1"/>
      </cdr:nvSpPr>
      <cdr:spPr>
        <a:xfrm xmlns:a="http://schemas.openxmlformats.org/drawingml/2006/main">
          <a:off x="1209326" y="879994"/>
          <a:ext cx="3549256" cy="49253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b="1" dirty="0">
              <a:solidFill>
                <a:srgbClr val="C00000"/>
              </a:solidFill>
              <a:latin typeface="Arial" panose="020B0604020202020204" pitchFamily="34" charset="0"/>
              <a:cs typeface="Arial" panose="020B0604020202020204" pitchFamily="34" charset="0"/>
            </a:rPr>
            <a:t>China’s economy is slowly slowing down</a:t>
          </a:r>
        </a:p>
        <a:p xmlns:a="http://schemas.openxmlformats.org/drawingml/2006/main">
          <a:r>
            <a:rPr lang="en-US" sz="1100" b="1" dirty="0">
              <a:solidFill>
                <a:srgbClr val="C00000"/>
              </a:solidFill>
              <a:latin typeface="Arial" panose="020B0604020202020204" pitchFamily="34" charset="0"/>
              <a:cs typeface="Arial" panose="020B0604020202020204" pitchFamily="34" charset="0"/>
            </a:rPr>
            <a:t>+4.9% </a:t>
          </a:r>
          <a:r>
            <a:rPr lang="en-US" sz="1100" b="1" dirty="0" err="1">
              <a:solidFill>
                <a:srgbClr val="C00000"/>
              </a:solidFill>
              <a:latin typeface="Arial" panose="020B0604020202020204" pitchFamily="34" charset="0"/>
              <a:cs typeface="Arial" panose="020B0604020202020204" pitchFamily="34" charset="0"/>
            </a:rPr>
            <a:t>yoy</a:t>
          </a:r>
          <a:r>
            <a:rPr lang="en-US" sz="1100" b="1" dirty="0">
              <a:solidFill>
                <a:srgbClr val="C00000"/>
              </a:solidFill>
              <a:latin typeface="Arial" panose="020B0604020202020204" pitchFamily="34" charset="0"/>
              <a:cs typeface="Arial" panose="020B0604020202020204" pitchFamily="34" charset="0"/>
            </a:rPr>
            <a:t> in 3Q23</a:t>
          </a:r>
          <a:endParaRPr lang="ru-RU" sz="1100" b="1" dirty="0">
            <a:solidFill>
              <a:srgbClr val="C00000"/>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6049</cdr:x>
      <cdr:y>0.26685</cdr:y>
    </cdr:from>
    <cdr:to>
      <cdr:x>0.94961</cdr:x>
      <cdr:y>0.34755</cdr:y>
    </cdr:to>
    <cdr:cxnSp macro="">
      <cdr:nvCxnSpPr>
        <cdr:cNvPr id="7" name="Прямая со стрелкой 6">
          <a:extLst xmlns:a="http://schemas.openxmlformats.org/drawingml/2006/main">
            <a:ext uri="{FF2B5EF4-FFF2-40B4-BE49-F238E27FC236}">
              <a16:creationId xmlns:a16="http://schemas.microsoft.com/office/drawing/2014/main" id="{F9EDA71E-E1FF-7FE3-BC0E-6FEA280E7744}"/>
            </a:ext>
          </a:extLst>
        </cdr:cNvPr>
        <cdr:cNvCxnSpPr/>
      </cdr:nvCxnSpPr>
      <cdr:spPr>
        <a:xfrm xmlns:a="http://schemas.openxmlformats.org/drawingml/2006/main">
          <a:off x="2663687" y="1248845"/>
          <a:ext cx="2829339" cy="377687"/>
        </a:xfrm>
        <a:prstGeom xmlns:a="http://schemas.openxmlformats.org/drawingml/2006/main" prst="straightConnector1">
          <a:avLst/>
        </a:prstGeom>
        <a:ln xmlns:a="http://schemas.openxmlformats.org/drawingml/2006/main">
          <a:solidFill>
            <a:srgbClr val="C0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0024</cdr:x>
      <cdr:y>0.38436</cdr:y>
    </cdr:from>
    <cdr:to>
      <cdr:x>0.94503</cdr:x>
      <cdr:y>0.76947</cdr:y>
    </cdr:to>
    <cdr:cxnSp macro="">
      <cdr:nvCxnSpPr>
        <cdr:cNvPr id="10" name="Прямая со стрелкой 9">
          <a:extLst xmlns:a="http://schemas.openxmlformats.org/drawingml/2006/main">
            <a:ext uri="{FF2B5EF4-FFF2-40B4-BE49-F238E27FC236}">
              <a16:creationId xmlns:a16="http://schemas.microsoft.com/office/drawing/2014/main" id="{8DEFB1D9-64A0-BD41-E92C-D5848646F273}"/>
            </a:ext>
          </a:extLst>
        </cdr:cNvPr>
        <cdr:cNvCxnSpPr/>
      </cdr:nvCxnSpPr>
      <cdr:spPr>
        <a:xfrm xmlns:a="http://schemas.openxmlformats.org/drawingml/2006/main" flipV="1">
          <a:off x="3472070" y="1798810"/>
          <a:ext cx="1994452" cy="1802296"/>
        </a:xfrm>
        <a:prstGeom xmlns:a="http://schemas.openxmlformats.org/drawingml/2006/main" prst="straightConnector1">
          <a:avLst/>
        </a:prstGeom>
        <a:ln xmlns:a="http://schemas.openxmlformats.org/drawingml/2006/main">
          <a:solidFill>
            <a:srgbClr val="04043A"/>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63204</cdr:x>
      <cdr:y>0.02426</cdr:y>
    </cdr:from>
    <cdr:to>
      <cdr:x>0.63204</cdr:x>
      <cdr:y>0.95163</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1C62A7E8-C89C-704A-2633-E4BE14AB4CA2}"/>
            </a:ext>
          </a:extLst>
        </cdr:cNvPr>
        <cdr:cNvCxnSpPr/>
      </cdr:nvCxnSpPr>
      <cdr:spPr>
        <a:xfrm xmlns:a="http://schemas.openxmlformats.org/drawingml/2006/main">
          <a:off x="3638070" y="113529"/>
          <a:ext cx="0" cy="4340087"/>
        </a:xfrm>
        <a:prstGeom xmlns:a="http://schemas.openxmlformats.org/drawingml/2006/main" prst="line">
          <a:avLst/>
        </a:prstGeom>
        <a:ln xmlns:a="http://schemas.openxmlformats.org/drawingml/2006/main" w="12700">
          <a:solidFill>
            <a:srgbClr val="C00000"/>
          </a:solidFill>
          <a:prstDash val="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3393</cdr:x>
      <cdr:y>0.02356</cdr:y>
    </cdr:from>
    <cdr:to>
      <cdr:x>0.86199</cdr:x>
      <cdr:y>0.17505</cdr:y>
    </cdr:to>
    <cdr:sp macro="" textlink="">
      <cdr:nvSpPr>
        <cdr:cNvPr id="5" name="TextBox 4">
          <a:extLst xmlns:a="http://schemas.openxmlformats.org/drawingml/2006/main">
            <a:ext uri="{FF2B5EF4-FFF2-40B4-BE49-F238E27FC236}">
              <a16:creationId xmlns:a16="http://schemas.microsoft.com/office/drawing/2014/main" id="{EBA9681C-8F00-C9D7-4746-8B781924CEC3}"/>
            </a:ext>
          </a:extLst>
        </cdr:cNvPr>
        <cdr:cNvSpPr txBox="1"/>
      </cdr:nvSpPr>
      <cdr:spPr>
        <a:xfrm xmlns:a="http://schemas.openxmlformats.org/drawingml/2006/main">
          <a:off x="3648975" y="110245"/>
          <a:ext cx="1312764" cy="70899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solidFill>
                <a:srgbClr val="C00000"/>
              </a:solidFill>
              <a:latin typeface="Arial" panose="020B0604020202020204" pitchFamily="34" charset="0"/>
              <a:cs typeface="Arial" panose="020B0604020202020204" pitchFamily="34" charset="0"/>
            </a:rPr>
            <a:t>Nord Stream pipeline sabotage</a:t>
          </a:r>
          <a:endParaRPr lang="ru-RU" sz="1200" dirty="0">
            <a:solidFill>
              <a:srgbClr val="C00000"/>
            </a:solidFill>
            <a:latin typeface="Arial" panose="020B0604020202020204" pitchFamily="34" charset="0"/>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5788</cdr:x>
      <cdr:y>0.71539</cdr:y>
    </cdr:from>
    <cdr:to>
      <cdr:x>0.9988</cdr:x>
      <cdr:y>0.71539</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2C7EE0EC-1381-C768-D77A-5E9B0B416131}"/>
            </a:ext>
          </a:extLst>
        </cdr:cNvPr>
        <cdr:cNvCxnSpPr/>
      </cdr:nvCxnSpPr>
      <cdr:spPr>
        <a:xfrm xmlns:a="http://schemas.openxmlformats.org/drawingml/2006/main">
          <a:off x="333375" y="3348040"/>
          <a:ext cx="5419725" cy="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05622</cdr:x>
      <cdr:y>0.60345</cdr:y>
    </cdr:from>
    <cdr:to>
      <cdr:x>0.99219</cdr:x>
      <cdr:y>0.60345</cdr:y>
    </cdr:to>
    <cdr:cxnSp macro="">
      <cdr:nvCxnSpPr>
        <cdr:cNvPr id="5" name="Прямая соединительная линия 4">
          <a:extLst xmlns:a="http://schemas.openxmlformats.org/drawingml/2006/main">
            <a:ext uri="{FF2B5EF4-FFF2-40B4-BE49-F238E27FC236}">
              <a16:creationId xmlns:a16="http://schemas.microsoft.com/office/drawing/2014/main" id="{EDE3AAE5-6D31-1CBE-CD04-E45D5D047075}"/>
            </a:ext>
          </a:extLst>
        </cdr:cNvPr>
        <cdr:cNvCxnSpPr/>
      </cdr:nvCxnSpPr>
      <cdr:spPr>
        <a:xfrm xmlns:a="http://schemas.openxmlformats.org/drawingml/2006/main">
          <a:off x="323850" y="2824165"/>
          <a:ext cx="5391150" cy="0"/>
        </a:xfrm>
        <a:prstGeom xmlns:a="http://schemas.openxmlformats.org/drawingml/2006/main" prst="line">
          <a:avLst/>
        </a:prstGeom>
        <a:ln xmlns:a="http://schemas.openxmlformats.org/drawingml/2006/main" w="28575">
          <a:solidFill>
            <a:schemeClr val="tx1"/>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63</cdr:x>
      <cdr:y>0.5</cdr:y>
    </cdr:from>
    <cdr:to>
      <cdr:x>0.88496</cdr:x>
      <cdr:y>0.55239</cdr:y>
    </cdr:to>
    <cdr:sp macro="" textlink="">
      <cdr:nvSpPr>
        <cdr:cNvPr id="2" name="TextBox 1">
          <a:extLst xmlns:a="http://schemas.openxmlformats.org/drawingml/2006/main">
            <a:ext uri="{FF2B5EF4-FFF2-40B4-BE49-F238E27FC236}">
              <a16:creationId xmlns:a16="http://schemas.microsoft.com/office/drawing/2014/main" id="{667E650F-560A-D90A-3512-BDD77E5A2E48}"/>
            </a:ext>
          </a:extLst>
        </cdr:cNvPr>
        <cdr:cNvSpPr txBox="1"/>
      </cdr:nvSpPr>
      <cdr:spPr>
        <a:xfrm xmlns:a="http://schemas.openxmlformats.org/drawingml/2006/main">
          <a:off x="4010713" y="2340000"/>
          <a:ext cx="1086678" cy="24516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a:solidFill>
                <a:schemeClr val="tx1"/>
              </a:solidFill>
              <a:latin typeface="Arial" panose="020B0604020202020204" pitchFamily="34" charset="0"/>
              <a:cs typeface="Arial" panose="020B0604020202020204" pitchFamily="34" charset="0"/>
            </a:rPr>
            <a:t>2% </a:t>
          </a:r>
          <a:r>
            <a:rPr lang="en-US" sz="1200" b="1" dirty="0">
              <a:solidFill>
                <a:schemeClr val="tx1"/>
              </a:solidFill>
              <a:latin typeface="Arial" panose="020B0604020202020204" pitchFamily="34" charset="0"/>
              <a:cs typeface="Arial" panose="020B0604020202020204" pitchFamily="34" charset="0"/>
            </a:rPr>
            <a:t>target</a:t>
          </a:r>
          <a:endParaRPr lang="ru-RU" sz="1200" b="1" dirty="0">
            <a:solidFill>
              <a:schemeClr val="tx1"/>
            </a:solidFill>
            <a:latin typeface="Arial" panose="020B0604020202020204" pitchFamily="34" charset="0"/>
            <a:cs typeface="Arial" panose="020B0604020202020204"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05908</cdr:x>
      <cdr:y>0.76185</cdr:y>
    </cdr:from>
    <cdr:to>
      <cdr:x>1</cdr:x>
      <cdr:y>0.76185</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2C7EE0EC-1381-C768-D77A-5E9B0B416131}"/>
            </a:ext>
          </a:extLst>
        </cdr:cNvPr>
        <cdr:cNvCxnSpPr/>
      </cdr:nvCxnSpPr>
      <cdr:spPr>
        <a:xfrm xmlns:a="http://schemas.openxmlformats.org/drawingml/2006/main">
          <a:off x="340301" y="3565435"/>
          <a:ext cx="5419699" cy="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31897</cdr:x>
      <cdr:y>0</cdr:y>
    </cdr:from>
    <cdr:to>
      <cdr:x>0.31897</cdr:x>
      <cdr:y>0.80624</cdr:y>
    </cdr:to>
    <cdr:cxnSp macro="">
      <cdr:nvCxnSpPr>
        <cdr:cNvPr id="3" name="Прямая соединительная линия 2">
          <a:extLst xmlns:a="http://schemas.openxmlformats.org/drawingml/2006/main">
            <a:ext uri="{FF2B5EF4-FFF2-40B4-BE49-F238E27FC236}">
              <a16:creationId xmlns:a16="http://schemas.microsoft.com/office/drawing/2014/main" id="{160186F6-08D6-669B-468C-B757E8A58AD3}"/>
            </a:ext>
          </a:extLst>
        </cdr:cNvPr>
        <cdr:cNvCxnSpPr/>
      </cdr:nvCxnSpPr>
      <cdr:spPr>
        <a:xfrm xmlns:a="http://schemas.openxmlformats.org/drawingml/2006/main">
          <a:off x="1722438" y="0"/>
          <a:ext cx="0" cy="1741488"/>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06967</cdr:x>
      <cdr:y>0.16562</cdr:y>
    </cdr:from>
    <cdr:to>
      <cdr:x>0.2978</cdr:x>
      <cdr:y>0.33319</cdr:y>
    </cdr:to>
    <cdr:sp macro="" textlink="">
      <cdr:nvSpPr>
        <cdr:cNvPr id="5" name="TextBox 4">
          <a:extLst xmlns:a="http://schemas.openxmlformats.org/drawingml/2006/main">
            <a:ext uri="{FF2B5EF4-FFF2-40B4-BE49-F238E27FC236}">
              <a16:creationId xmlns:a16="http://schemas.microsoft.com/office/drawing/2014/main" id="{788615AB-C13C-2D47-5CF7-5FE8BFE1F6D7}"/>
            </a:ext>
          </a:extLst>
        </cdr:cNvPr>
        <cdr:cNvSpPr txBox="1"/>
      </cdr:nvSpPr>
      <cdr:spPr>
        <a:xfrm xmlns:a="http://schemas.openxmlformats.org/drawingml/2006/main">
          <a:off x="376218" y="357748"/>
          <a:ext cx="1231902" cy="36195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800" dirty="0">
              <a:latin typeface="Arial" panose="020B0604020202020204" pitchFamily="34" charset="0"/>
              <a:cs typeface="Arial" panose="020B0604020202020204" pitchFamily="34" charset="0"/>
            </a:rPr>
            <a:t>1870-1914</a:t>
          </a:r>
        </a:p>
        <a:p xmlns:a="http://schemas.openxmlformats.org/drawingml/2006/main">
          <a:pPr algn="ctr"/>
          <a:r>
            <a:rPr lang="en-US" sz="800" dirty="0">
              <a:latin typeface="Arial" panose="020B0604020202020204" pitchFamily="34" charset="0"/>
              <a:cs typeface="Arial" panose="020B0604020202020204" pitchFamily="34" charset="0"/>
            </a:rPr>
            <a:t>Industrialization</a:t>
          </a:r>
          <a:endParaRPr lang="ru-RU" sz="8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0594</cdr:x>
      <cdr:y>0</cdr:y>
    </cdr:from>
    <cdr:to>
      <cdr:x>0.50594</cdr:x>
      <cdr:y>0.80624</cdr:y>
    </cdr:to>
    <cdr:cxnSp macro="">
      <cdr:nvCxnSpPr>
        <cdr:cNvPr id="8" name="Прямая соединительная линия 7">
          <a:extLst xmlns:a="http://schemas.openxmlformats.org/drawingml/2006/main">
            <a:ext uri="{FF2B5EF4-FFF2-40B4-BE49-F238E27FC236}">
              <a16:creationId xmlns:a16="http://schemas.microsoft.com/office/drawing/2014/main" id="{14A5244B-587B-F69B-0D8E-DDC15AF19922}"/>
            </a:ext>
          </a:extLst>
        </cdr:cNvPr>
        <cdr:cNvCxnSpPr/>
      </cdr:nvCxnSpPr>
      <cdr:spPr>
        <a:xfrm xmlns:a="http://schemas.openxmlformats.org/drawingml/2006/main">
          <a:off x="2732088" y="0"/>
          <a:ext cx="0" cy="1741488"/>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9928</cdr:x>
      <cdr:y>0.24941</cdr:y>
    </cdr:from>
    <cdr:to>
      <cdr:x>0.52741</cdr:x>
      <cdr:y>0.41698</cdr:y>
    </cdr:to>
    <cdr:sp macro="" textlink="">
      <cdr:nvSpPr>
        <cdr:cNvPr id="9" name="TextBox 8">
          <a:extLst xmlns:a="http://schemas.openxmlformats.org/drawingml/2006/main">
            <a:ext uri="{FF2B5EF4-FFF2-40B4-BE49-F238E27FC236}">
              <a16:creationId xmlns:a16="http://schemas.microsoft.com/office/drawing/2014/main" id="{13BA776F-E1AB-16E4-C440-EEC4A9EC3B28}"/>
            </a:ext>
          </a:extLst>
        </cdr:cNvPr>
        <cdr:cNvSpPr txBox="1"/>
      </cdr:nvSpPr>
      <cdr:spPr>
        <a:xfrm xmlns:a="http://schemas.openxmlformats.org/drawingml/2006/main">
          <a:off x="1616124" y="538724"/>
          <a:ext cx="1231902" cy="36195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800" dirty="0">
              <a:latin typeface="Arial" panose="020B0604020202020204" pitchFamily="34" charset="0"/>
              <a:cs typeface="Arial" panose="020B0604020202020204" pitchFamily="34" charset="0"/>
            </a:rPr>
            <a:t>1914-1945</a:t>
          </a:r>
        </a:p>
        <a:p xmlns:a="http://schemas.openxmlformats.org/drawingml/2006/main">
          <a:pPr algn="ctr"/>
          <a:r>
            <a:rPr lang="en-US" sz="800" dirty="0">
              <a:latin typeface="Arial" panose="020B0604020202020204" pitchFamily="34" charset="0"/>
              <a:cs typeface="Arial" panose="020B0604020202020204" pitchFamily="34" charset="0"/>
            </a:rPr>
            <a:t>Interwar era</a:t>
          </a:r>
          <a:endParaRPr lang="ru-RU" sz="8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72231</cdr:x>
      <cdr:y>0</cdr:y>
    </cdr:from>
    <cdr:to>
      <cdr:x>0.72231</cdr:x>
      <cdr:y>0.80624</cdr:y>
    </cdr:to>
    <cdr:cxnSp macro="">
      <cdr:nvCxnSpPr>
        <cdr:cNvPr id="10" name="Прямая соединительная линия 9">
          <a:extLst xmlns:a="http://schemas.openxmlformats.org/drawingml/2006/main">
            <a:ext uri="{FF2B5EF4-FFF2-40B4-BE49-F238E27FC236}">
              <a16:creationId xmlns:a16="http://schemas.microsoft.com/office/drawing/2014/main" id="{CB27E9F9-23CA-6EDD-76F0-986A320693EC}"/>
            </a:ext>
          </a:extLst>
        </cdr:cNvPr>
        <cdr:cNvCxnSpPr/>
      </cdr:nvCxnSpPr>
      <cdr:spPr>
        <a:xfrm xmlns:a="http://schemas.openxmlformats.org/drawingml/2006/main">
          <a:off x="3900488" y="0"/>
          <a:ext cx="0" cy="1741488"/>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cdr:x>
      <cdr:y>0.10498</cdr:y>
    </cdr:from>
    <cdr:to>
      <cdr:x>0.72813</cdr:x>
      <cdr:y>0.27255</cdr:y>
    </cdr:to>
    <cdr:sp macro="" textlink="">
      <cdr:nvSpPr>
        <cdr:cNvPr id="11" name="TextBox 10">
          <a:extLst xmlns:a="http://schemas.openxmlformats.org/drawingml/2006/main">
            <a:ext uri="{FF2B5EF4-FFF2-40B4-BE49-F238E27FC236}">
              <a16:creationId xmlns:a16="http://schemas.microsoft.com/office/drawing/2014/main" id="{15C273A6-4F9A-F49B-67A5-C2028E5B6BFD}"/>
            </a:ext>
          </a:extLst>
        </cdr:cNvPr>
        <cdr:cNvSpPr txBox="1"/>
      </cdr:nvSpPr>
      <cdr:spPr>
        <a:xfrm xmlns:a="http://schemas.openxmlformats.org/drawingml/2006/main">
          <a:off x="2700000" y="226750"/>
          <a:ext cx="1231902" cy="36195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800" dirty="0">
              <a:latin typeface="Arial" panose="020B0604020202020204" pitchFamily="34" charset="0"/>
              <a:cs typeface="Arial" panose="020B0604020202020204" pitchFamily="34" charset="0"/>
            </a:rPr>
            <a:t>194</a:t>
          </a:r>
          <a:r>
            <a:rPr lang="ru-RU" sz="800" dirty="0">
              <a:latin typeface="Arial" panose="020B0604020202020204" pitchFamily="34" charset="0"/>
              <a:cs typeface="Arial" panose="020B0604020202020204" pitchFamily="34" charset="0"/>
            </a:rPr>
            <a:t>5</a:t>
          </a:r>
          <a:r>
            <a:rPr lang="en-US" sz="800" dirty="0">
              <a:latin typeface="Arial" panose="020B0604020202020204" pitchFamily="34" charset="0"/>
              <a:cs typeface="Arial" panose="020B0604020202020204" pitchFamily="34" charset="0"/>
            </a:rPr>
            <a:t>-19</a:t>
          </a:r>
          <a:r>
            <a:rPr lang="ru-RU" sz="800" dirty="0">
              <a:latin typeface="Arial" panose="020B0604020202020204" pitchFamily="34" charset="0"/>
              <a:cs typeface="Arial" panose="020B0604020202020204" pitchFamily="34" charset="0"/>
            </a:rPr>
            <a:t>80</a:t>
          </a:r>
          <a:endParaRPr lang="en-US" sz="800" dirty="0">
            <a:latin typeface="Arial" panose="020B0604020202020204" pitchFamily="34" charset="0"/>
            <a:cs typeface="Arial" panose="020B0604020202020204" pitchFamily="34" charset="0"/>
          </a:endParaRPr>
        </a:p>
        <a:p xmlns:a="http://schemas.openxmlformats.org/drawingml/2006/main">
          <a:pPr algn="ctr"/>
          <a:r>
            <a:rPr lang="en-US" sz="800" dirty="0">
              <a:latin typeface="Arial" panose="020B0604020202020204" pitchFamily="34" charset="0"/>
              <a:cs typeface="Arial" panose="020B0604020202020204" pitchFamily="34" charset="0"/>
            </a:rPr>
            <a:t>Bretton</a:t>
          </a:r>
          <a:r>
            <a:rPr lang="en-US" sz="800" baseline="0" dirty="0">
              <a:latin typeface="Arial" panose="020B0604020202020204" pitchFamily="34" charset="0"/>
              <a:cs typeface="Arial" panose="020B0604020202020204" pitchFamily="34" charset="0"/>
            </a:rPr>
            <a:t> Woods</a:t>
          </a:r>
          <a:endParaRPr lang="ru-RU" sz="8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88577</cdr:x>
      <cdr:y>0</cdr:y>
    </cdr:from>
    <cdr:to>
      <cdr:x>0.88577</cdr:x>
      <cdr:y>0.80624</cdr:y>
    </cdr:to>
    <cdr:cxnSp macro="">
      <cdr:nvCxnSpPr>
        <cdr:cNvPr id="12" name="Прямая соединительная линия 11">
          <a:extLst xmlns:a="http://schemas.openxmlformats.org/drawingml/2006/main">
            <a:ext uri="{FF2B5EF4-FFF2-40B4-BE49-F238E27FC236}">
              <a16:creationId xmlns:a16="http://schemas.microsoft.com/office/drawing/2014/main" id="{3872999F-648A-D97E-3BAE-F487B68343DE}"/>
            </a:ext>
          </a:extLst>
        </cdr:cNvPr>
        <cdr:cNvCxnSpPr/>
      </cdr:nvCxnSpPr>
      <cdr:spPr>
        <a:xfrm xmlns:a="http://schemas.openxmlformats.org/drawingml/2006/main">
          <a:off x="4783138" y="0"/>
          <a:ext cx="0" cy="1741488"/>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8468</cdr:x>
      <cdr:y>0.04777</cdr:y>
    </cdr:from>
    <cdr:to>
      <cdr:x>0.91281</cdr:x>
      <cdr:y>0.21534</cdr:y>
    </cdr:to>
    <cdr:sp macro="" textlink="">
      <cdr:nvSpPr>
        <cdr:cNvPr id="13" name="TextBox 12">
          <a:extLst xmlns:a="http://schemas.openxmlformats.org/drawingml/2006/main">
            <a:ext uri="{FF2B5EF4-FFF2-40B4-BE49-F238E27FC236}">
              <a16:creationId xmlns:a16="http://schemas.microsoft.com/office/drawing/2014/main" id="{9EB40B1C-7270-F945-45E4-A92F1B4E78B9}"/>
            </a:ext>
          </a:extLst>
        </cdr:cNvPr>
        <cdr:cNvSpPr txBox="1"/>
      </cdr:nvSpPr>
      <cdr:spPr>
        <a:xfrm xmlns:a="http://schemas.openxmlformats.org/drawingml/2006/main">
          <a:off x="3697288" y="103188"/>
          <a:ext cx="1231900" cy="3619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800">
              <a:latin typeface="Arial" panose="020B0604020202020204" pitchFamily="34" charset="0"/>
              <a:cs typeface="Arial" panose="020B0604020202020204" pitchFamily="34" charset="0"/>
            </a:rPr>
            <a:t>19</a:t>
          </a:r>
          <a:r>
            <a:rPr lang="ru-RU" sz="800">
              <a:latin typeface="Arial" panose="020B0604020202020204" pitchFamily="34" charset="0"/>
              <a:cs typeface="Arial" panose="020B0604020202020204" pitchFamily="34" charset="0"/>
            </a:rPr>
            <a:t>80</a:t>
          </a:r>
          <a:r>
            <a:rPr lang="en-US" sz="800">
              <a:latin typeface="Arial" panose="020B0604020202020204" pitchFamily="34" charset="0"/>
              <a:cs typeface="Arial" panose="020B0604020202020204" pitchFamily="34" charset="0"/>
            </a:rPr>
            <a:t>-2008</a:t>
          </a:r>
        </a:p>
        <a:p xmlns:a="http://schemas.openxmlformats.org/drawingml/2006/main">
          <a:pPr algn="ctr"/>
          <a:r>
            <a:rPr lang="en-US" sz="800">
              <a:latin typeface="Arial" panose="020B0604020202020204" pitchFamily="34" charset="0"/>
              <a:cs typeface="Arial" panose="020B0604020202020204" pitchFamily="34" charset="0"/>
            </a:rPr>
            <a:t>Globaliztion</a:t>
          </a:r>
          <a:endParaRPr lang="ru-RU" sz="80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03446</cdr:x>
      <cdr:y>0</cdr:y>
    </cdr:from>
    <cdr:to>
      <cdr:x>0.48111</cdr:x>
      <cdr:y>0.11043</cdr:y>
    </cdr:to>
    <cdr:sp macro="" textlink="">
      <cdr:nvSpPr>
        <cdr:cNvPr id="2" name="TextBox 1">
          <a:extLst xmlns:a="http://schemas.openxmlformats.org/drawingml/2006/main">
            <a:ext uri="{FF2B5EF4-FFF2-40B4-BE49-F238E27FC236}">
              <a16:creationId xmlns:a16="http://schemas.microsoft.com/office/drawing/2014/main" id="{C0CA7F7F-61CA-129F-63E3-6640CDD4FC11}"/>
            </a:ext>
          </a:extLst>
        </cdr:cNvPr>
        <cdr:cNvSpPr txBox="1"/>
      </cdr:nvSpPr>
      <cdr:spPr>
        <a:xfrm xmlns:a="http://schemas.openxmlformats.org/drawingml/2006/main">
          <a:off x="186109" y="-4111996"/>
          <a:ext cx="2411895" cy="23853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b="1" dirty="0">
              <a:latin typeface="Arial" panose="020B0604020202020204" pitchFamily="34" charset="0"/>
              <a:cs typeface="Arial" panose="020B0604020202020204" pitchFamily="34" charset="0"/>
            </a:rPr>
            <a:t>Total trade in goods (% of global GDP)</a:t>
          </a:r>
          <a:endParaRPr lang="ru-RU" sz="800" b="1" dirty="0">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3077739" cy="513508"/>
          </a:xfrm>
          <a:prstGeom prst="rect">
            <a:avLst/>
          </a:prstGeom>
        </p:spPr>
        <p:txBody>
          <a:bodyPr vert="horz" lIns="94924" tIns="47462" rIns="94924" bIns="47462" rtlCol="0"/>
          <a:lstStyle>
            <a:lvl1pPr algn="l">
              <a:defRPr sz="1200"/>
            </a:lvl1pPr>
          </a:lstStyle>
          <a:p>
            <a:endParaRPr lang="ru-RU"/>
          </a:p>
        </p:txBody>
      </p:sp>
      <p:sp>
        <p:nvSpPr>
          <p:cNvPr id="3" name="Дата 2"/>
          <p:cNvSpPr>
            <a:spLocks noGrp="1"/>
          </p:cNvSpPr>
          <p:nvPr>
            <p:ph type="dt" idx="1"/>
          </p:nvPr>
        </p:nvSpPr>
        <p:spPr>
          <a:xfrm>
            <a:off x="4023093" y="0"/>
            <a:ext cx="3077739" cy="513508"/>
          </a:xfrm>
          <a:prstGeom prst="rect">
            <a:avLst/>
          </a:prstGeom>
        </p:spPr>
        <p:txBody>
          <a:bodyPr vert="horz" lIns="94924" tIns="47462" rIns="94924" bIns="47462" rtlCol="0"/>
          <a:lstStyle>
            <a:lvl1pPr algn="r">
              <a:defRPr sz="1200"/>
            </a:lvl1pPr>
          </a:lstStyle>
          <a:p>
            <a:fld id="{D40550FF-4B16-4383-A8CF-21FA3985BC09}" type="datetimeFigureOut">
              <a:rPr lang="ru-RU" smtClean="0"/>
              <a:t>04.12.2023</a:t>
            </a:fld>
            <a:endParaRPr lang="ru-RU"/>
          </a:p>
        </p:txBody>
      </p:sp>
      <p:sp>
        <p:nvSpPr>
          <p:cNvPr id="4" name="Образ слайда 3"/>
          <p:cNvSpPr>
            <a:spLocks noGrp="1" noRot="1" noChangeAspect="1"/>
          </p:cNvSpPr>
          <p:nvPr>
            <p:ph type="sldImg" idx="2"/>
          </p:nvPr>
        </p:nvSpPr>
        <p:spPr>
          <a:xfrm>
            <a:off x="481013" y="1279525"/>
            <a:ext cx="6140450" cy="3454400"/>
          </a:xfrm>
          <a:prstGeom prst="rect">
            <a:avLst/>
          </a:prstGeom>
          <a:noFill/>
          <a:ln w="12700">
            <a:solidFill>
              <a:prstClr val="black"/>
            </a:solidFill>
          </a:ln>
        </p:spPr>
        <p:txBody>
          <a:bodyPr vert="horz" lIns="94924" tIns="47462" rIns="94924" bIns="47462" rtlCol="0" anchor="ctr"/>
          <a:lstStyle/>
          <a:p>
            <a:endParaRPr lang="ru-RU"/>
          </a:p>
        </p:txBody>
      </p:sp>
      <p:sp>
        <p:nvSpPr>
          <p:cNvPr id="5" name="Заметки 4"/>
          <p:cNvSpPr>
            <a:spLocks noGrp="1"/>
          </p:cNvSpPr>
          <p:nvPr>
            <p:ph type="body" sz="quarter" idx="3"/>
          </p:nvPr>
        </p:nvSpPr>
        <p:spPr>
          <a:xfrm>
            <a:off x="710248" y="4925407"/>
            <a:ext cx="5681980" cy="4029879"/>
          </a:xfrm>
          <a:prstGeom prst="rect">
            <a:avLst/>
          </a:prstGeom>
        </p:spPr>
        <p:txBody>
          <a:bodyPr vert="horz" lIns="94924" tIns="47462" rIns="94924" bIns="47462"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721107"/>
            <a:ext cx="3077739" cy="513507"/>
          </a:xfrm>
          <a:prstGeom prst="rect">
            <a:avLst/>
          </a:prstGeom>
        </p:spPr>
        <p:txBody>
          <a:bodyPr vert="horz" lIns="94924" tIns="47462" rIns="94924" bIns="47462" rtlCol="0" anchor="b"/>
          <a:lstStyle>
            <a:lvl1pPr algn="l">
              <a:defRPr sz="1200"/>
            </a:lvl1pPr>
          </a:lstStyle>
          <a:p>
            <a:endParaRPr lang="ru-RU"/>
          </a:p>
        </p:txBody>
      </p:sp>
      <p:sp>
        <p:nvSpPr>
          <p:cNvPr id="7" name="Номер слайда 6"/>
          <p:cNvSpPr>
            <a:spLocks noGrp="1"/>
          </p:cNvSpPr>
          <p:nvPr>
            <p:ph type="sldNum" sz="quarter" idx="5"/>
          </p:nvPr>
        </p:nvSpPr>
        <p:spPr>
          <a:xfrm>
            <a:off x="4023093" y="9721107"/>
            <a:ext cx="3077739" cy="513507"/>
          </a:xfrm>
          <a:prstGeom prst="rect">
            <a:avLst/>
          </a:prstGeom>
        </p:spPr>
        <p:txBody>
          <a:bodyPr vert="horz" lIns="94924" tIns="47462" rIns="94924" bIns="47462" rtlCol="0" anchor="b"/>
          <a:lstStyle>
            <a:lvl1pPr algn="r">
              <a:defRPr sz="1200"/>
            </a:lvl1pPr>
          </a:lstStyle>
          <a:p>
            <a:fld id="{8A69D9D1-184A-49DF-A6CC-EF6AC868BDF6}" type="slidenum">
              <a:rPr lang="ru-RU" smtClean="0"/>
              <a:t>‹#›</a:t>
            </a:fld>
            <a:endParaRPr lang="ru-RU"/>
          </a:p>
        </p:txBody>
      </p:sp>
    </p:spTree>
    <p:extLst>
      <p:ext uri="{BB962C8B-B14F-4D97-AF65-F5344CB8AC3E}">
        <p14:creationId xmlns:p14="http://schemas.microsoft.com/office/powerpoint/2010/main" val="11463000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8A69D9D1-184A-49DF-A6CC-EF6AC868BDF6}" type="slidenum">
              <a:rPr lang="ru-RU" smtClean="0"/>
              <a:t>1</a:t>
            </a:fld>
            <a:endParaRPr lang="ru-RU"/>
          </a:p>
        </p:txBody>
      </p:sp>
    </p:spTree>
    <p:extLst>
      <p:ext uri="{BB962C8B-B14F-4D97-AF65-F5344CB8AC3E}">
        <p14:creationId xmlns:p14="http://schemas.microsoft.com/office/powerpoint/2010/main" val="3362042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85738" y="1389063"/>
            <a:ext cx="6669087" cy="3751262"/>
          </a:xfrm>
        </p:spPr>
      </p:sp>
      <p:sp>
        <p:nvSpPr>
          <p:cNvPr id="3" name="Заметки 2"/>
          <p:cNvSpPr>
            <a:spLocks noGrp="1"/>
          </p:cNvSpPr>
          <p:nvPr>
            <p:ph type="body" idx="1"/>
          </p:nvPr>
        </p:nvSpPr>
        <p:spPr/>
        <p:txBody>
          <a:bodyPr/>
          <a:lstStyle/>
          <a:p>
            <a:pPr algn="l">
              <a:buFont typeface="Arial" panose="020B0604020202020204" pitchFamily="34" charset="0"/>
              <a:buChar char="•"/>
            </a:pPr>
            <a:r>
              <a:rPr lang="ru-RU" b="0" i="0" dirty="0">
                <a:solidFill>
                  <a:srgbClr val="000000"/>
                </a:solidFill>
                <a:effectLst/>
                <a:latin typeface="HSE Slab" panose="02000000000000000000" pitchFamily="50" charset="0"/>
              </a:rPr>
              <a:t>Стагфляция 2020-х гг. – это новая норма?</a:t>
            </a:r>
          </a:p>
          <a:p>
            <a:pPr algn="l">
              <a:buFont typeface="Arial" panose="020B0604020202020204" pitchFamily="34" charset="0"/>
              <a:buChar char="•"/>
            </a:pPr>
            <a:r>
              <a:rPr lang="ru-RU" b="0" i="0" dirty="0">
                <a:solidFill>
                  <a:srgbClr val="000000"/>
                </a:solidFill>
                <a:effectLst/>
                <a:latin typeface="HSE Slab" panose="02000000000000000000" pitchFamily="50" charset="0"/>
              </a:rPr>
              <a:t>Возможен ли возврат к устойчивым темпам экономического роста в развитых странах до 2030 г.?</a:t>
            </a:r>
          </a:p>
          <a:p>
            <a:pPr algn="l">
              <a:buFont typeface="Arial" panose="020B0604020202020204" pitchFamily="34" charset="0"/>
              <a:buChar char="•"/>
            </a:pPr>
            <a:r>
              <a:rPr lang="ru-RU" b="0" i="0">
                <a:solidFill>
                  <a:srgbClr val="000000"/>
                </a:solidFill>
                <a:effectLst/>
                <a:latin typeface="HSE Slab" panose="02000000000000000000" pitchFamily="50" charset="0"/>
              </a:rPr>
              <a:t>В какой степени долговое бремя будет ограничивать рост развивающихся экономик?</a:t>
            </a:r>
          </a:p>
          <a:p>
            <a:endParaRPr lang="ru-RU" dirty="0"/>
          </a:p>
        </p:txBody>
      </p:sp>
      <p:sp>
        <p:nvSpPr>
          <p:cNvPr id="4" name="Номер слайда 3"/>
          <p:cNvSpPr>
            <a:spLocks noGrp="1"/>
          </p:cNvSpPr>
          <p:nvPr>
            <p:ph type="sldNum" sz="quarter" idx="10"/>
          </p:nvPr>
        </p:nvSpPr>
        <p:spPr/>
        <p:txBody>
          <a:bodyPr/>
          <a:lstStyle/>
          <a:p>
            <a:fld id="{0C4A89F5-FCEF-4CE1-BFC8-1149F3AE66F0}" type="slidenum">
              <a:rPr lang="ru-RU" smtClean="0"/>
              <a:t>2</a:t>
            </a:fld>
            <a:endParaRPr lang="ru-RU"/>
          </a:p>
        </p:txBody>
      </p:sp>
    </p:spTree>
    <p:extLst>
      <p:ext uri="{BB962C8B-B14F-4D97-AF65-F5344CB8AC3E}">
        <p14:creationId xmlns:p14="http://schemas.microsoft.com/office/powerpoint/2010/main" val="3961910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85738" y="1389063"/>
            <a:ext cx="6669087" cy="37512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C4A89F5-FCEF-4CE1-BFC8-1149F3AE66F0}" type="slidenum">
              <a:rPr lang="ru-RU" smtClean="0"/>
              <a:t>3</a:t>
            </a:fld>
            <a:endParaRPr lang="ru-RU"/>
          </a:p>
        </p:txBody>
      </p:sp>
    </p:spTree>
    <p:extLst>
      <p:ext uri="{BB962C8B-B14F-4D97-AF65-F5344CB8AC3E}">
        <p14:creationId xmlns:p14="http://schemas.microsoft.com/office/powerpoint/2010/main" val="765642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85738" y="1389063"/>
            <a:ext cx="6669087" cy="3751262"/>
          </a:xfrm>
        </p:spPr>
      </p:sp>
      <p:sp>
        <p:nvSpPr>
          <p:cNvPr id="3" name="Заметки 2"/>
          <p:cNvSpPr>
            <a:spLocks noGrp="1"/>
          </p:cNvSpPr>
          <p:nvPr>
            <p:ph type="body" idx="1"/>
          </p:nvPr>
        </p:nvSpPr>
        <p:spPr/>
        <p:txBody>
          <a:bodyPr/>
          <a:lstStyle/>
          <a:p>
            <a:pPr algn="l">
              <a:buFont typeface="Arial" panose="020B0604020202020204" pitchFamily="34" charset="0"/>
              <a:buChar char="•"/>
            </a:pPr>
            <a:r>
              <a:rPr lang="ru-RU" b="0" i="0" dirty="0">
                <a:solidFill>
                  <a:srgbClr val="000000"/>
                </a:solidFill>
                <a:effectLst/>
                <a:latin typeface="HSE Slab" panose="02000000000000000000" pitchFamily="50" charset="0"/>
              </a:rPr>
              <a:t>Стагфляция 2020-х гг. – это новая норма?</a:t>
            </a:r>
          </a:p>
          <a:p>
            <a:pPr algn="l">
              <a:buFont typeface="Arial" panose="020B0604020202020204" pitchFamily="34" charset="0"/>
              <a:buChar char="•"/>
            </a:pPr>
            <a:r>
              <a:rPr lang="ru-RU" b="0" i="0" dirty="0">
                <a:solidFill>
                  <a:srgbClr val="000000"/>
                </a:solidFill>
                <a:effectLst/>
                <a:latin typeface="HSE Slab" panose="02000000000000000000" pitchFamily="50" charset="0"/>
              </a:rPr>
              <a:t>Возможен ли возврат к устойчивым темпам экономического роста в развитых странах до 2030 г.?</a:t>
            </a:r>
          </a:p>
          <a:p>
            <a:pPr algn="l">
              <a:buFont typeface="Arial" panose="020B0604020202020204" pitchFamily="34" charset="0"/>
              <a:buChar char="•"/>
            </a:pPr>
            <a:r>
              <a:rPr lang="ru-RU" b="0" i="0">
                <a:solidFill>
                  <a:srgbClr val="000000"/>
                </a:solidFill>
                <a:effectLst/>
                <a:latin typeface="HSE Slab" panose="02000000000000000000" pitchFamily="50" charset="0"/>
              </a:rPr>
              <a:t>В какой степени долговое бремя будет ограничивать рост развивающихся экономик?</a:t>
            </a:r>
          </a:p>
          <a:p>
            <a:endParaRPr lang="ru-RU" dirty="0"/>
          </a:p>
        </p:txBody>
      </p:sp>
      <p:sp>
        <p:nvSpPr>
          <p:cNvPr id="4" name="Номер слайда 3"/>
          <p:cNvSpPr>
            <a:spLocks noGrp="1"/>
          </p:cNvSpPr>
          <p:nvPr>
            <p:ph type="sldNum" sz="quarter" idx="10"/>
          </p:nvPr>
        </p:nvSpPr>
        <p:spPr/>
        <p:txBody>
          <a:bodyPr/>
          <a:lstStyle/>
          <a:p>
            <a:fld id="{0C4A89F5-FCEF-4CE1-BFC8-1149F3AE66F0}" type="slidenum">
              <a:rPr lang="ru-RU" smtClean="0"/>
              <a:t>4</a:t>
            </a:fld>
            <a:endParaRPr lang="ru-RU"/>
          </a:p>
        </p:txBody>
      </p:sp>
    </p:spTree>
    <p:extLst>
      <p:ext uri="{BB962C8B-B14F-4D97-AF65-F5344CB8AC3E}">
        <p14:creationId xmlns:p14="http://schemas.microsoft.com/office/powerpoint/2010/main" val="2338133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85738" y="1389063"/>
            <a:ext cx="6669087" cy="37512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C4A89F5-FCEF-4CE1-BFC8-1149F3AE66F0}" type="slidenum">
              <a:rPr lang="ru-RU" smtClean="0"/>
              <a:t>5</a:t>
            </a:fld>
            <a:endParaRPr lang="ru-RU"/>
          </a:p>
        </p:txBody>
      </p:sp>
    </p:spTree>
    <p:extLst>
      <p:ext uri="{BB962C8B-B14F-4D97-AF65-F5344CB8AC3E}">
        <p14:creationId xmlns:p14="http://schemas.microsoft.com/office/powerpoint/2010/main" val="646536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85738" y="1389063"/>
            <a:ext cx="6669087" cy="37512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C4A89F5-FCEF-4CE1-BFC8-1149F3AE66F0}" type="slidenum">
              <a:rPr lang="ru-RU" smtClean="0"/>
              <a:t>6</a:t>
            </a:fld>
            <a:endParaRPr lang="ru-RU"/>
          </a:p>
        </p:txBody>
      </p:sp>
    </p:spTree>
    <p:extLst>
      <p:ext uri="{BB962C8B-B14F-4D97-AF65-F5344CB8AC3E}">
        <p14:creationId xmlns:p14="http://schemas.microsoft.com/office/powerpoint/2010/main" val="12846925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85738" y="1389063"/>
            <a:ext cx="6669087" cy="3751262"/>
          </a:xfrm>
        </p:spPr>
      </p:sp>
      <p:sp>
        <p:nvSpPr>
          <p:cNvPr id="3" name="Заметки 2"/>
          <p:cNvSpPr>
            <a:spLocks noGrp="1"/>
          </p:cNvSpPr>
          <p:nvPr>
            <p:ph type="body" idx="1"/>
          </p:nvPr>
        </p:nvSpPr>
        <p:spPr/>
        <p:txBody>
          <a:bodyPr/>
          <a:lstStyle/>
          <a:p>
            <a:pPr algn="l">
              <a:buFont typeface="Arial" panose="020B0604020202020204" pitchFamily="34" charset="0"/>
              <a:buChar char="•"/>
            </a:pPr>
            <a:r>
              <a:rPr lang="ru-RU" b="0" i="0" dirty="0">
                <a:solidFill>
                  <a:srgbClr val="000000"/>
                </a:solidFill>
                <a:effectLst/>
                <a:latin typeface="HSE Slab" panose="02000000000000000000" pitchFamily="50" charset="0"/>
              </a:rPr>
              <a:t>Стагфляция 2020-х гг. – это новая норма?</a:t>
            </a:r>
          </a:p>
          <a:p>
            <a:pPr algn="l">
              <a:buFont typeface="Arial" panose="020B0604020202020204" pitchFamily="34" charset="0"/>
              <a:buChar char="•"/>
            </a:pPr>
            <a:r>
              <a:rPr lang="ru-RU" b="0" i="0" dirty="0">
                <a:solidFill>
                  <a:srgbClr val="000000"/>
                </a:solidFill>
                <a:effectLst/>
                <a:latin typeface="HSE Slab" panose="02000000000000000000" pitchFamily="50" charset="0"/>
              </a:rPr>
              <a:t>Возможен ли возврат к устойчивым темпам экономического роста в развитых странах до 2030 г.?</a:t>
            </a:r>
          </a:p>
          <a:p>
            <a:pPr algn="l">
              <a:buFont typeface="Arial" panose="020B0604020202020204" pitchFamily="34" charset="0"/>
              <a:buChar char="•"/>
            </a:pPr>
            <a:r>
              <a:rPr lang="ru-RU" b="0" i="0">
                <a:solidFill>
                  <a:srgbClr val="000000"/>
                </a:solidFill>
                <a:effectLst/>
                <a:latin typeface="HSE Slab" panose="02000000000000000000" pitchFamily="50" charset="0"/>
              </a:rPr>
              <a:t>В какой степени долговое бремя будет ограничивать рост развивающихся экономик?</a:t>
            </a:r>
          </a:p>
          <a:p>
            <a:endParaRPr lang="ru-RU" dirty="0"/>
          </a:p>
        </p:txBody>
      </p:sp>
      <p:sp>
        <p:nvSpPr>
          <p:cNvPr id="4" name="Номер слайда 3"/>
          <p:cNvSpPr>
            <a:spLocks noGrp="1"/>
          </p:cNvSpPr>
          <p:nvPr>
            <p:ph type="sldNum" sz="quarter" idx="10"/>
          </p:nvPr>
        </p:nvSpPr>
        <p:spPr/>
        <p:txBody>
          <a:bodyPr/>
          <a:lstStyle/>
          <a:p>
            <a:fld id="{0C4A89F5-FCEF-4CE1-BFC8-1149F3AE66F0}" type="slidenum">
              <a:rPr lang="ru-RU" smtClean="0"/>
              <a:t>7</a:t>
            </a:fld>
            <a:endParaRPr lang="ru-RU"/>
          </a:p>
        </p:txBody>
      </p:sp>
    </p:spTree>
    <p:extLst>
      <p:ext uri="{BB962C8B-B14F-4D97-AF65-F5344CB8AC3E}">
        <p14:creationId xmlns:p14="http://schemas.microsoft.com/office/powerpoint/2010/main" val="1838883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85738" y="1389063"/>
            <a:ext cx="6669087" cy="3751262"/>
          </a:xfrm>
        </p:spPr>
      </p:sp>
      <p:sp>
        <p:nvSpPr>
          <p:cNvPr id="3" name="Заметки 2"/>
          <p:cNvSpPr>
            <a:spLocks noGrp="1"/>
          </p:cNvSpPr>
          <p:nvPr>
            <p:ph type="body" idx="1"/>
          </p:nvPr>
        </p:nvSpPr>
        <p:spPr/>
        <p:txBody>
          <a:bodyPr/>
          <a:lstStyle/>
          <a:p>
            <a:r>
              <a:rPr lang="en-US" b="0" i="0" dirty="0">
                <a:solidFill>
                  <a:srgbClr val="181818"/>
                </a:solidFill>
                <a:effectLst/>
                <a:latin typeface="Arial" panose="020B0604020202020204" pitchFamily="34" charset="0"/>
              </a:rPr>
              <a:t>Market is pricing that monetary policy will remain restrictive and above r-star (2.5%) for the next five years. Put differently, the market is currently pricing a “no landing” scenario where monetary policy will have to put downward pressure on GDP growth and inflation for the next five years. In short, the market is extremely bullish on the economic outlook over the next five years.</a:t>
            </a:r>
          </a:p>
          <a:p>
            <a:endParaRPr lang="en-US" b="0" i="0" dirty="0">
              <a:solidFill>
                <a:srgbClr val="181818"/>
              </a:solidFill>
              <a:effectLst/>
              <a:latin typeface="Arial" panose="020B0604020202020204" pitchFamily="34" charset="0"/>
            </a:endParaRPr>
          </a:p>
          <a:p>
            <a:r>
              <a:rPr lang="en-US" b="0" i="0" dirty="0">
                <a:solidFill>
                  <a:srgbClr val="181818"/>
                </a:solidFill>
                <a:effectLst/>
                <a:latin typeface="Arial" panose="020B0604020202020204" pitchFamily="34" charset="0"/>
              </a:rPr>
              <a:t>FOMC and Fed estimates of r-star are saying that the Fed funds rate will move down to 2.5%. But the market disagrees and says that rates will stay around 4% for the next five years, see again the chart below.</a:t>
            </a:r>
          </a:p>
          <a:p>
            <a:endParaRPr lang="en-US" b="0" i="0" dirty="0">
              <a:solidFill>
                <a:srgbClr val="181818"/>
              </a:solidFill>
              <a:effectLst/>
              <a:latin typeface="Arial" panose="020B0604020202020204" pitchFamily="34" charset="0"/>
            </a:endParaRPr>
          </a:p>
          <a:p>
            <a:pPr algn="l"/>
            <a:r>
              <a:rPr lang="en-US" b="0" i="0" dirty="0">
                <a:solidFill>
                  <a:srgbClr val="000000"/>
                </a:solidFill>
                <a:effectLst/>
                <a:latin typeface="Graphik Web"/>
              </a:rPr>
              <a:t>The key question for markets is if we can get a soft landing in both inflation and in the labor market, i.e., in both parts of the Fed’s dual mandate.</a:t>
            </a:r>
          </a:p>
          <a:p>
            <a:pPr algn="l"/>
            <a:r>
              <a:rPr lang="en-US" b="0" i="0" dirty="0">
                <a:solidFill>
                  <a:srgbClr val="000000"/>
                </a:solidFill>
                <a:effectLst/>
                <a:latin typeface="Graphik Web"/>
              </a:rPr>
              <a:t>With inflation slowing and the labor market softening, the risks are rising that both inflation and employment are weakening faster than markets currently expect.</a:t>
            </a:r>
          </a:p>
          <a:p>
            <a:endParaRPr lang="ru-RU" b="0" dirty="0"/>
          </a:p>
        </p:txBody>
      </p:sp>
      <p:sp>
        <p:nvSpPr>
          <p:cNvPr id="4" name="Номер слайда 3"/>
          <p:cNvSpPr>
            <a:spLocks noGrp="1"/>
          </p:cNvSpPr>
          <p:nvPr>
            <p:ph type="sldNum" sz="quarter" idx="10"/>
          </p:nvPr>
        </p:nvSpPr>
        <p:spPr/>
        <p:txBody>
          <a:bodyPr/>
          <a:lstStyle/>
          <a:p>
            <a:fld id="{0C4A89F5-FCEF-4CE1-BFC8-1149F3AE66F0}" type="slidenum">
              <a:rPr lang="ru-RU" smtClean="0"/>
              <a:t>8</a:t>
            </a:fld>
            <a:endParaRPr lang="ru-RU"/>
          </a:p>
        </p:txBody>
      </p:sp>
    </p:spTree>
    <p:extLst>
      <p:ext uri="{BB962C8B-B14F-4D97-AF65-F5344CB8AC3E}">
        <p14:creationId xmlns:p14="http://schemas.microsoft.com/office/powerpoint/2010/main" val="2860426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65C1F9C3-B5DB-45C3-A237-59787C53A9A6}" type="datetimeFigureOut">
              <a:rPr lang="ru-RU" smtClean="0"/>
              <a:t>04.12.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1083517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65C1F9C3-B5DB-45C3-A237-59787C53A9A6}" type="datetimeFigureOut">
              <a:rPr lang="ru-RU" smtClean="0"/>
              <a:t>04.12.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1438854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65C1F9C3-B5DB-45C3-A237-59787C53A9A6}" type="datetimeFigureOut">
              <a:rPr lang="ru-RU" smtClean="0"/>
              <a:t>04.12.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17449280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65C1F9C3-B5DB-45C3-A237-59787C53A9A6}" type="datetimeFigureOut">
              <a:rPr lang="ru-RU" smtClean="0"/>
              <a:t>04.12.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762883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65C1F9C3-B5DB-45C3-A237-59787C53A9A6}" type="datetimeFigureOut">
              <a:rPr lang="ru-RU" smtClean="0"/>
              <a:t>04.12.202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1198116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65C1F9C3-B5DB-45C3-A237-59787C53A9A6}" type="datetimeFigureOut">
              <a:rPr lang="ru-RU" smtClean="0"/>
              <a:t>04.12.202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1827718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65C1F9C3-B5DB-45C3-A237-59787C53A9A6}" type="datetimeFigureOut">
              <a:rPr lang="ru-RU" smtClean="0"/>
              <a:t>04.12.2023</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9562104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65C1F9C3-B5DB-45C3-A237-59787C53A9A6}" type="datetimeFigureOut">
              <a:rPr lang="ru-RU" smtClean="0"/>
              <a:t>04.12.2023</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1404131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65C1F9C3-B5DB-45C3-A237-59787C53A9A6}" type="datetimeFigureOut">
              <a:rPr lang="ru-RU" smtClean="0"/>
              <a:t>04.12.2023</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3768807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65C1F9C3-B5DB-45C3-A237-59787C53A9A6}" type="datetimeFigureOut">
              <a:rPr lang="ru-RU" smtClean="0"/>
              <a:t>04.12.202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4290326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65C1F9C3-B5DB-45C3-A237-59787C53A9A6}" type="datetimeFigureOut">
              <a:rPr lang="ru-RU" smtClean="0"/>
              <a:t>04.12.202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580313D-A15C-464B-BEDE-6378EDB15CB9}" type="slidenum">
              <a:rPr lang="ru-RU" smtClean="0"/>
              <a:t>‹#›</a:t>
            </a:fld>
            <a:endParaRPr lang="ru-RU"/>
          </a:p>
        </p:txBody>
      </p:sp>
    </p:spTree>
    <p:extLst>
      <p:ext uri="{BB962C8B-B14F-4D97-AF65-F5344CB8AC3E}">
        <p14:creationId xmlns:p14="http://schemas.microsoft.com/office/powerpoint/2010/main" val="2914809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C1F9C3-B5DB-45C3-A237-59787C53A9A6}" type="datetimeFigureOut">
              <a:rPr lang="ru-RU" smtClean="0"/>
              <a:t>04.12.2023</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80313D-A15C-464B-BEDE-6378EDB15CB9}" type="slidenum">
              <a:rPr lang="ru-RU" smtClean="0"/>
              <a:t>‹#›</a:t>
            </a:fld>
            <a:endParaRPr lang="ru-RU"/>
          </a:p>
        </p:txBody>
      </p:sp>
    </p:spTree>
    <p:extLst>
      <p:ext uri="{BB962C8B-B14F-4D97-AF65-F5344CB8AC3E}">
        <p14:creationId xmlns:p14="http://schemas.microsoft.com/office/powerpoint/2010/main" val="25991835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5.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chart" Target="../charts/chart2.xml"/><Relationship Id="rId3" Type="http://schemas.openxmlformats.org/officeDocument/2006/relationships/tags" Target="../tags/tag3.xml"/><Relationship Id="rId7" Type="http://schemas.openxmlformats.org/officeDocument/2006/relationships/notesSlide" Target="../notesSlides/notesSlide2.xml"/><Relationship Id="rId12"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xml"/><Relationship Id="rId11" Type="http://schemas.openxmlformats.org/officeDocument/2006/relationships/image" Target="../media/image3.svg"/><Relationship Id="rId5" Type="http://schemas.openxmlformats.org/officeDocument/2006/relationships/customXml" Target="../../customXml/item4.xml"/><Relationship Id="rId10" Type="http://schemas.openxmlformats.org/officeDocument/2006/relationships/image" Target="../media/image2.png"/><Relationship Id="rId4" Type="http://schemas.openxmlformats.org/officeDocument/2006/relationships/tags" Target="../tags/tag4.xml"/><Relationship Id="rId9" Type="http://schemas.openxmlformats.org/officeDocument/2006/relationships/image" Target="../media/image6.emf"/></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chart" Target="../charts/chart4.xml"/><Relationship Id="rId3" Type="http://schemas.openxmlformats.org/officeDocument/2006/relationships/tags" Target="../tags/tag7.xml"/><Relationship Id="rId7" Type="http://schemas.openxmlformats.org/officeDocument/2006/relationships/notesSlide" Target="../notesSlides/notesSlide3.xml"/><Relationship Id="rId12" Type="http://schemas.openxmlformats.org/officeDocument/2006/relationships/chart" Target="../charts/char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1.xml"/><Relationship Id="rId11" Type="http://schemas.openxmlformats.org/officeDocument/2006/relationships/image" Target="../media/image3.svg"/><Relationship Id="rId5" Type="http://schemas.openxmlformats.org/officeDocument/2006/relationships/customXml" Target="../../customXml/item6.xml"/><Relationship Id="rId10" Type="http://schemas.openxmlformats.org/officeDocument/2006/relationships/image" Target="../media/image2.png"/><Relationship Id="rId4" Type="http://schemas.openxmlformats.org/officeDocument/2006/relationships/tags" Target="../tags/tag8.xml"/><Relationship Id="rId9"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chart" Target="../charts/chart6.xml"/><Relationship Id="rId3" Type="http://schemas.openxmlformats.org/officeDocument/2006/relationships/tags" Target="../tags/tag11.xml"/><Relationship Id="rId7" Type="http://schemas.openxmlformats.org/officeDocument/2006/relationships/notesSlide" Target="../notesSlides/notesSlide4.xml"/><Relationship Id="rId12" Type="http://schemas.openxmlformats.org/officeDocument/2006/relationships/chart" Target="../charts/chart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1.xml"/><Relationship Id="rId11" Type="http://schemas.openxmlformats.org/officeDocument/2006/relationships/image" Target="../media/image3.svg"/><Relationship Id="rId5" Type="http://schemas.openxmlformats.org/officeDocument/2006/relationships/customXml" Target="../../customXml/item1.xml"/><Relationship Id="rId10" Type="http://schemas.openxmlformats.org/officeDocument/2006/relationships/image" Target="../media/image2.png"/><Relationship Id="rId4" Type="http://schemas.openxmlformats.org/officeDocument/2006/relationships/tags" Target="../tags/tag12.xml"/><Relationship Id="rId9" Type="http://schemas.openxmlformats.org/officeDocument/2006/relationships/image" Target="../media/image6.emf"/><Relationship Id="rId14" Type="http://schemas.openxmlformats.org/officeDocument/2006/relationships/chart" Target="../charts/chart7.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8.svg"/><Relationship Id="rId3" Type="http://schemas.openxmlformats.org/officeDocument/2006/relationships/tags" Target="../tags/tag15.xml"/><Relationship Id="rId7" Type="http://schemas.openxmlformats.org/officeDocument/2006/relationships/notesSlide" Target="../notesSlides/notesSlide5.xml"/><Relationship Id="rId12"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1.xml"/><Relationship Id="rId11" Type="http://schemas.openxmlformats.org/officeDocument/2006/relationships/image" Target="../media/image3.svg"/><Relationship Id="rId5" Type="http://schemas.openxmlformats.org/officeDocument/2006/relationships/customXml" Target="../../customXml/item9.xml"/><Relationship Id="rId15" Type="http://schemas.openxmlformats.org/officeDocument/2006/relationships/image" Target="../media/image10.svg"/><Relationship Id="rId10" Type="http://schemas.openxmlformats.org/officeDocument/2006/relationships/image" Target="../media/image2.png"/><Relationship Id="rId4" Type="http://schemas.openxmlformats.org/officeDocument/2006/relationships/tags" Target="../tags/tag16.xml"/><Relationship Id="rId9" Type="http://schemas.openxmlformats.org/officeDocument/2006/relationships/image" Target="../media/image6.emf"/><Relationship Id="rId1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12.svg"/><Relationship Id="rId3" Type="http://schemas.openxmlformats.org/officeDocument/2006/relationships/tags" Target="../tags/tag19.xml"/><Relationship Id="rId7" Type="http://schemas.openxmlformats.org/officeDocument/2006/relationships/notesSlide" Target="../notesSlides/notesSlide6.xml"/><Relationship Id="rId12"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Layout" Target="../slideLayouts/slideLayout1.xml"/><Relationship Id="rId11" Type="http://schemas.openxmlformats.org/officeDocument/2006/relationships/image" Target="../media/image3.svg"/><Relationship Id="rId5" Type="http://schemas.openxmlformats.org/officeDocument/2006/relationships/customXml" Target="../../customXml/item7.xml"/><Relationship Id="rId15" Type="http://schemas.openxmlformats.org/officeDocument/2006/relationships/image" Target="../media/image14.svg"/><Relationship Id="rId10" Type="http://schemas.openxmlformats.org/officeDocument/2006/relationships/image" Target="../media/image2.png"/><Relationship Id="rId4" Type="http://schemas.openxmlformats.org/officeDocument/2006/relationships/tags" Target="../tags/tag20.xml"/><Relationship Id="rId9" Type="http://schemas.openxmlformats.org/officeDocument/2006/relationships/image" Target="../media/image6.emf"/><Relationship Id="rId1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chart" Target="../charts/chart9.xml"/><Relationship Id="rId3" Type="http://schemas.openxmlformats.org/officeDocument/2006/relationships/tags" Target="../tags/tag23.xml"/><Relationship Id="rId7" Type="http://schemas.openxmlformats.org/officeDocument/2006/relationships/notesSlide" Target="../notesSlides/notesSlide7.xml"/><Relationship Id="rId12" Type="http://schemas.openxmlformats.org/officeDocument/2006/relationships/chart" Target="../charts/chart8.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1.xml"/><Relationship Id="rId11" Type="http://schemas.openxmlformats.org/officeDocument/2006/relationships/image" Target="../media/image3.svg"/><Relationship Id="rId5" Type="http://schemas.openxmlformats.org/officeDocument/2006/relationships/customXml" Target="../../customXml/item3.xml"/><Relationship Id="rId10" Type="http://schemas.openxmlformats.org/officeDocument/2006/relationships/image" Target="../media/image2.png"/><Relationship Id="rId4" Type="http://schemas.openxmlformats.org/officeDocument/2006/relationships/tags" Target="../tags/tag24.xml"/><Relationship Id="rId9" Type="http://schemas.openxmlformats.org/officeDocument/2006/relationships/image" Target="../media/image6.emf"/></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16.png"/><Relationship Id="rId3" Type="http://schemas.openxmlformats.org/officeDocument/2006/relationships/tags" Target="../tags/tag27.xml"/><Relationship Id="rId7" Type="http://schemas.openxmlformats.org/officeDocument/2006/relationships/notesSlide" Target="../notesSlides/notesSlide8.xml"/><Relationship Id="rId12" Type="http://schemas.openxmlformats.org/officeDocument/2006/relationships/image" Target="../media/image15.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Layout" Target="../slideLayouts/slideLayout1.xml"/><Relationship Id="rId11" Type="http://schemas.openxmlformats.org/officeDocument/2006/relationships/image" Target="../media/image3.svg"/><Relationship Id="rId5" Type="http://schemas.openxmlformats.org/officeDocument/2006/relationships/customXml" Target="../../customXml/item8.xml"/><Relationship Id="rId15" Type="http://schemas.openxmlformats.org/officeDocument/2006/relationships/chart" Target="../charts/chart11.xml"/><Relationship Id="rId10" Type="http://schemas.openxmlformats.org/officeDocument/2006/relationships/image" Target="../media/image2.png"/><Relationship Id="rId4" Type="http://schemas.openxmlformats.org/officeDocument/2006/relationships/tags" Target="../tags/tag28.xml"/><Relationship Id="rId9" Type="http://schemas.openxmlformats.org/officeDocument/2006/relationships/image" Target="../media/image6.emf"/><Relationship Id="rId1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01880" y="407322"/>
            <a:ext cx="10928119" cy="1129059"/>
          </a:xfrm>
        </p:spPr>
        <p:txBody>
          <a:bodyPr>
            <a:normAutofit fontScale="90000"/>
          </a:bodyPr>
          <a:lstStyle/>
          <a:p>
            <a:pPr algn="l"/>
            <a:r>
              <a:rPr lang="en-US" sz="3200" b="1" dirty="0">
                <a:solidFill>
                  <a:srgbClr val="0C1460"/>
                </a:solidFill>
                <a:latin typeface="Gilroy SemiBold" panose="00000700000000000000" pitchFamily="2" charset="-52"/>
              </a:rPr>
              <a:t>BETWEEN INFLATION, FINANCIAL INSTABILITY AND DEBT: </a:t>
            </a:r>
            <a:br>
              <a:rPr lang="en-US" sz="3200" b="1" dirty="0">
                <a:solidFill>
                  <a:srgbClr val="0C1460"/>
                </a:solidFill>
                <a:latin typeface="Gilroy SemiBold" panose="00000700000000000000" pitchFamily="2" charset="-52"/>
              </a:rPr>
            </a:br>
            <a:r>
              <a:rPr lang="en-US" sz="3200" b="1" dirty="0">
                <a:solidFill>
                  <a:srgbClr val="0C1460"/>
                </a:solidFill>
                <a:latin typeface="Gilroy SemiBold" panose="00000700000000000000" pitchFamily="2" charset="-52"/>
              </a:rPr>
              <a:t>THE PATTERNS OF ECONOMIC GROWTH IN THE POST-CRISIS WORLD</a:t>
            </a:r>
          </a:p>
        </p:txBody>
      </p:sp>
      <p:sp>
        <p:nvSpPr>
          <p:cNvPr id="4" name="Прямоугольник 3"/>
          <p:cNvSpPr/>
          <p:nvPr/>
        </p:nvSpPr>
        <p:spPr>
          <a:xfrm>
            <a:off x="501880" y="2185005"/>
            <a:ext cx="8165042" cy="954107"/>
          </a:xfrm>
          <a:prstGeom prst="rect">
            <a:avLst/>
          </a:prstGeom>
        </p:spPr>
        <p:txBody>
          <a:bodyPr wrap="square">
            <a:spAutoFit/>
          </a:bodyPr>
          <a:lstStyle/>
          <a:p>
            <a:pPr fontAlgn="base">
              <a:spcBef>
                <a:spcPct val="0"/>
              </a:spcBef>
              <a:spcAft>
                <a:spcPct val="0"/>
              </a:spcAft>
            </a:pPr>
            <a:r>
              <a:rPr lang="en-US"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XI Annual Conference on the Global Economy</a:t>
            </a:r>
            <a:r>
              <a:rPr lang="ru-RU"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fontAlgn="base">
              <a:spcBef>
                <a:spcPct val="0"/>
              </a:spcBef>
              <a:spcAft>
                <a:spcPct val="0"/>
              </a:spcAft>
            </a:pPr>
            <a:r>
              <a:rPr lang="en-US"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Re-balancing of the world economy: in search of new models for global development”</a:t>
            </a:r>
          </a:p>
          <a:p>
            <a:pPr fontAlgn="base">
              <a:spcBef>
                <a:spcPct val="0"/>
              </a:spcBef>
              <a:spcAft>
                <a:spcPct val="0"/>
              </a:spcAft>
            </a:pPr>
            <a:endParaRPr lang="en-US"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fontAlgn="base">
              <a:spcBef>
                <a:spcPct val="0"/>
              </a:spcBef>
              <a:spcAft>
                <a:spcPct val="0"/>
              </a:spcAft>
            </a:pPr>
            <a:r>
              <a:rPr lang="en-US"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November 29, 202</a:t>
            </a:r>
            <a:r>
              <a:rPr lang="ru-RU"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rPr>
              <a:t>3</a:t>
            </a:r>
            <a:endParaRPr lang="en-US" sz="1400" dirty="0">
              <a:solidFill>
                <a:schemeClr val="accent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Подзаголовок 2"/>
          <p:cNvSpPr txBox="1">
            <a:spLocks/>
          </p:cNvSpPr>
          <p:nvPr/>
        </p:nvSpPr>
        <p:spPr>
          <a:xfrm>
            <a:off x="7212208" y="5197016"/>
            <a:ext cx="4973166" cy="123129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fontAlgn="base">
              <a:lnSpc>
                <a:spcPct val="150000"/>
              </a:lnSpc>
              <a:spcBef>
                <a:spcPct val="0"/>
              </a:spcBef>
              <a:spcAft>
                <a:spcPct val="0"/>
              </a:spcAft>
            </a:pPr>
            <a:r>
              <a:rPr lang="en-US" sz="2800" b="1" dirty="0">
                <a:solidFill>
                  <a:srgbClr val="0C1460"/>
                </a:solidFill>
                <a:latin typeface="Gilroy SemiBold" panose="00000700000000000000" pitchFamily="2" charset="-52"/>
                <a:cs typeface="Times New Roman" panose="02020603050405020304" pitchFamily="18" charset="0"/>
              </a:rPr>
              <a:t>Salikhov Marcel</a:t>
            </a:r>
          </a:p>
          <a:p>
            <a:pPr algn="l" fontAlgn="base">
              <a:lnSpc>
                <a:spcPct val="150000"/>
              </a:lnSpc>
              <a:spcBef>
                <a:spcPct val="0"/>
              </a:spcBef>
              <a:spcAft>
                <a:spcPct val="0"/>
              </a:spcAft>
            </a:pPr>
            <a:r>
              <a:rPr lang="en-US" sz="1400" dirty="0">
                <a:solidFill>
                  <a:srgbClr val="0264A6"/>
                </a:solidFill>
                <a:latin typeface="Gilroy" panose="00000500000000000000" pitchFamily="2" charset="-52"/>
              </a:rPr>
              <a:t>FIEF/HSE</a:t>
            </a:r>
            <a:endParaRPr lang="ru-RU" sz="1400" dirty="0">
              <a:solidFill>
                <a:srgbClr val="0264A6"/>
              </a:solidFill>
              <a:latin typeface="Gilroy" panose="00000500000000000000" pitchFamily="2" charset="-52"/>
            </a:endParaRPr>
          </a:p>
          <a:p>
            <a:pPr algn="l" fontAlgn="base">
              <a:lnSpc>
                <a:spcPct val="100000"/>
              </a:lnSpc>
              <a:spcBef>
                <a:spcPct val="0"/>
              </a:spcBef>
              <a:spcAft>
                <a:spcPct val="0"/>
              </a:spcAft>
            </a:pPr>
            <a:r>
              <a:rPr lang="en-US" sz="1400" dirty="0">
                <a:solidFill>
                  <a:srgbClr val="0264A6"/>
                </a:solidFill>
                <a:latin typeface="Gilroy" panose="00000500000000000000" pitchFamily="2" charset="-52"/>
              </a:rPr>
              <a:t>m_salihov@fief.ru</a:t>
            </a:r>
          </a:p>
        </p:txBody>
      </p:sp>
      <p:pic>
        <p:nvPicPr>
          <p:cNvPr id="6" name="Рисунок 5">
            <a:extLst>
              <a:ext uri="{FF2B5EF4-FFF2-40B4-BE49-F238E27FC236}">
                <a16:creationId xmlns:a16="http://schemas.microsoft.com/office/drawing/2014/main" id="{33A3C11C-B42A-4610-9DAA-D6491D297F2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5152611"/>
            <a:ext cx="4905375" cy="1162050"/>
          </a:xfrm>
          <a:prstGeom prst="rect">
            <a:avLst/>
          </a:prstGeom>
        </p:spPr>
      </p:pic>
      <p:sp>
        <p:nvSpPr>
          <p:cNvPr id="5" name="TextBox 4">
            <a:extLst>
              <a:ext uri="{FF2B5EF4-FFF2-40B4-BE49-F238E27FC236}">
                <a16:creationId xmlns:a16="http://schemas.microsoft.com/office/drawing/2014/main" id="{9DAEC85C-4823-97F8-ECC9-3EA9BAC210D2}"/>
              </a:ext>
            </a:extLst>
          </p:cNvPr>
          <p:cNvSpPr txBox="1"/>
          <p:nvPr/>
        </p:nvSpPr>
        <p:spPr>
          <a:xfrm>
            <a:off x="31019" y="6353285"/>
            <a:ext cx="6096000" cy="369332"/>
          </a:xfrm>
          <a:prstGeom prst="rect">
            <a:avLst/>
          </a:prstGeom>
          <a:noFill/>
        </p:spPr>
        <p:txBody>
          <a:bodyPr wrap="square">
            <a:spAutoFit/>
          </a:bodyPr>
          <a:lstStyle/>
          <a:p>
            <a:pPr algn="l" fontAlgn="base">
              <a:lnSpc>
                <a:spcPct val="100000"/>
              </a:lnSpc>
              <a:spcBef>
                <a:spcPct val="0"/>
              </a:spcBef>
              <a:spcAft>
                <a:spcPct val="0"/>
              </a:spcAft>
            </a:pPr>
            <a:r>
              <a:rPr lang="en-US" sz="1800" dirty="0">
                <a:solidFill>
                  <a:srgbClr val="0264A6"/>
                </a:solidFill>
                <a:latin typeface="Gilroy" panose="00000500000000000000" pitchFamily="2" charset="-52"/>
              </a:rPr>
              <a:t>https://t.me/IEFnotes</a:t>
            </a:r>
          </a:p>
        </p:txBody>
      </p:sp>
      <p:sp>
        <p:nvSpPr>
          <p:cNvPr id="9" name="AutoShape 2">
            <a:extLst>
              <a:ext uri="{FF2B5EF4-FFF2-40B4-BE49-F238E27FC236}">
                <a16:creationId xmlns:a16="http://schemas.microsoft.com/office/drawing/2014/main" id="{00997587-00E4-1282-6663-5198315B7851}"/>
              </a:ext>
            </a:extLst>
          </p:cNvPr>
          <p:cNvSpPr>
            <a:spLocks noChangeAspect="1" noChangeArrowheads="1"/>
          </p:cNvSpPr>
          <p:nvPr/>
        </p:nvSpPr>
        <p:spPr bwMode="auto">
          <a:xfrm>
            <a:off x="5874462" y="515261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11" name="Рисунок 10">
            <a:extLst>
              <a:ext uri="{FF2B5EF4-FFF2-40B4-BE49-F238E27FC236}">
                <a16:creationId xmlns:a16="http://schemas.microsoft.com/office/drawing/2014/main" id="{37D6256E-6A41-C1AB-ADE5-B898944509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0795" y="5152611"/>
            <a:ext cx="1290409" cy="1290409"/>
          </a:xfrm>
          <a:prstGeom prst="rect">
            <a:avLst/>
          </a:prstGeom>
        </p:spPr>
      </p:pic>
    </p:spTree>
    <p:extLst>
      <p:ext uri="{BB962C8B-B14F-4D97-AF65-F5344CB8AC3E}">
        <p14:creationId xmlns:p14="http://schemas.microsoft.com/office/powerpoint/2010/main" val="14858841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4" name="Объект 3" hidden="1"/>
                      <p:cNvPicPr/>
                      <p:nvPr/>
                    </p:nvPicPr>
                    <p:blipFill>
                      <a:blip r:embed="rId9"/>
                      <a:stretch>
                        <a:fillRect/>
                      </a:stretch>
                    </p:blipFill>
                    <p:spPr>
                      <a:xfrm>
                        <a:off x="-1522412" y="1588"/>
                        <a:ext cx="1588" cy="1588"/>
                      </a:xfrm>
                      <a:prstGeom prst="rect">
                        <a:avLst/>
                      </a:prstGeom>
                    </p:spPr>
                  </p:pic>
                </p:oleObj>
              </mc:Fallback>
            </mc:AlternateContent>
          </a:graphicData>
        </a:graphic>
      </p:graphicFrame>
      <p:sp>
        <p:nvSpPr>
          <p:cNvPr id="2" name="Прямоугольник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900" dirty="0">
              <a:sym typeface="+mn-lt"/>
            </a:endParaRPr>
          </a:p>
        </p:txBody>
      </p:sp>
      <p:sp>
        <p:nvSpPr>
          <p:cNvPr id="161" name="Текст 2"/>
          <p:cNvSpPr>
            <a:spLocks noGrp="1"/>
          </p:cNvSpPr>
          <p:nvPr>
            <p:custDataLst>
              <p:tags r:id="rId3"/>
            </p:custDataLst>
          </p:nvPr>
        </p:nvSpPr>
        <p:spPr bwMode="auto">
          <a:xfrm>
            <a:off x="5025305"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9" name="Текст 2"/>
          <p:cNvSpPr>
            <a:spLocks noGrp="1"/>
          </p:cNvSpPr>
          <p:nvPr>
            <p:custDataLst>
              <p:tags r:id="rId4"/>
            </p:custDataLst>
          </p:nvPr>
        </p:nvSpPr>
        <p:spPr bwMode="auto">
          <a:xfrm>
            <a:off x="6912843"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0" name="TextBox 149"/>
          <p:cNvSpPr txBox="1"/>
          <p:nvPr/>
        </p:nvSpPr>
        <p:spPr>
          <a:xfrm>
            <a:off x="180994" y="214799"/>
            <a:ext cx="9997336" cy="1077218"/>
          </a:xfrm>
          <a:prstGeom prst="rect">
            <a:avLst/>
          </a:prstGeom>
          <a:noFill/>
        </p:spPr>
        <p:txBody>
          <a:bodyPr wrap="square" rtlCol="0">
            <a:spAutoFit/>
          </a:bodyPr>
          <a:lstStyle/>
          <a:p>
            <a:r>
              <a:rPr lang="en-US" sz="3200" b="1" dirty="0">
                <a:solidFill>
                  <a:srgbClr val="0264A6"/>
                </a:solidFill>
                <a:latin typeface="Gilroy SemiBold" panose="00000700000000000000" pitchFamily="2" charset="-52"/>
                <a:ea typeface="+mj-ea"/>
                <a:cs typeface="Arial" panose="020B0604020202020204" pitchFamily="34" charset="0"/>
              </a:rPr>
              <a:t>2022 conference title was </a:t>
            </a:r>
            <a:r>
              <a:rPr lang="ru-RU" sz="3200" b="1" dirty="0">
                <a:solidFill>
                  <a:srgbClr val="0264A6"/>
                </a:solidFill>
                <a:latin typeface="Gilroy SemiBold" panose="00000700000000000000" pitchFamily="2" charset="-52"/>
                <a:ea typeface="+mj-ea"/>
                <a:cs typeface="Arial" panose="020B0604020202020204" pitchFamily="34" charset="0"/>
              </a:rPr>
              <a:t>«</a:t>
            </a:r>
            <a:r>
              <a:rPr lang="en-US" sz="3200" b="1" dirty="0">
                <a:solidFill>
                  <a:srgbClr val="0264A6"/>
                </a:solidFill>
                <a:latin typeface="Gilroy SemiBold" panose="00000700000000000000" pitchFamily="2" charset="-52"/>
                <a:ea typeface="+mj-ea"/>
                <a:cs typeface="Arial" panose="020B0604020202020204" pitchFamily="34" charset="0"/>
              </a:rPr>
              <a:t>On the brink of recession:</a:t>
            </a:r>
          </a:p>
          <a:p>
            <a:r>
              <a:rPr lang="en-US" sz="3200" b="1" dirty="0">
                <a:solidFill>
                  <a:srgbClr val="0264A6"/>
                </a:solidFill>
                <a:latin typeface="Gilroy SemiBold" panose="00000700000000000000" pitchFamily="2" charset="-52"/>
                <a:ea typeface="+mj-ea"/>
                <a:cs typeface="Arial" panose="020B0604020202020204" pitchFamily="34" charset="0"/>
              </a:rPr>
              <a:t>What is the scale of possible crisis?</a:t>
            </a:r>
            <a:endParaRPr lang="ru-RU" sz="3200" b="1" dirty="0">
              <a:solidFill>
                <a:srgbClr val="0264A6"/>
              </a:solidFill>
              <a:latin typeface="Gilroy SemiBold" panose="00000700000000000000" pitchFamily="2" charset="-52"/>
              <a:ea typeface="+mj-ea"/>
              <a:cs typeface="Arial" panose="020B0604020202020204" pitchFamily="34" charset="0"/>
            </a:endParaRPr>
          </a:p>
        </p:txBody>
      </p:sp>
      <p:grpSp>
        <p:nvGrpSpPr>
          <p:cNvPr id="7" name="Группа 6">
            <a:extLst>
              <a:ext uri="{FF2B5EF4-FFF2-40B4-BE49-F238E27FC236}">
                <a16:creationId xmlns:a16="http://schemas.microsoft.com/office/drawing/2014/main" id="{BBBD4993-86B1-4875-B96A-2FA2CF99D89C}"/>
              </a:ext>
            </a:extLst>
          </p:cNvPr>
          <p:cNvGrpSpPr/>
          <p:nvPr/>
        </p:nvGrpSpPr>
        <p:grpSpPr>
          <a:xfrm>
            <a:off x="9758363" y="44831"/>
            <a:ext cx="2386012" cy="584775"/>
            <a:chOff x="9296096" y="44831"/>
            <a:chExt cx="2820005" cy="668040"/>
          </a:xfrm>
        </p:grpSpPr>
        <p:pic>
          <p:nvPicPr>
            <p:cNvPr id="25" name="Рисунок 24">
              <a:extLst>
                <a:ext uri="{FF2B5EF4-FFF2-40B4-BE49-F238E27FC236}">
                  <a16:creationId xmlns:a16="http://schemas.microsoft.com/office/drawing/2014/main" id="{9FBC346F-479B-4113-9D43-35F85BD2D10E}"/>
                </a:ext>
              </a:extLst>
            </p:cNvPr>
            <p:cNvPicPr>
              <a:picLocks noChangeAspect="1"/>
            </p:cNvPicPr>
            <p:nvPr>
              <p:custDataLst>
                <p:custData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96096" y="44831"/>
              <a:ext cx="2820005" cy="668040"/>
            </a:xfrm>
            <a:prstGeom prst="rect">
              <a:avLst/>
            </a:prstGeom>
          </p:spPr>
        </p:pic>
        <p:sp>
          <p:nvSpPr>
            <p:cNvPr id="6" name="Прямоугольник 5">
              <a:extLst>
                <a:ext uri="{FF2B5EF4-FFF2-40B4-BE49-F238E27FC236}">
                  <a16:creationId xmlns:a16="http://schemas.microsoft.com/office/drawing/2014/main" id="{C6A16946-3E49-41B7-B835-718DD62B3ADF}"/>
                </a:ext>
              </a:extLst>
            </p:cNvPr>
            <p:cNvSpPr/>
            <p:nvPr/>
          </p:nvSpPr>
          <p:spPr>
            <a:xfrm>
              <a:off x="11148865" y="471489"/>
              <a:ext cx="920079" cy="16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9" name="Прямоугольник 28">
            <a:extLst>
              <a:ext uri="{FF2B5EF4-FFF2-40B4-BE49-F238E27FC236}">
                <a16:creationId xmlns:a16="http://schemas.microsoft.com/office/drawing/2014/main" id="{DC77903F-9882-4466-B7C8-9DE864C2E167}"/>
              </a:ext>
            </a:extLst>
          </p:cNvPr>
          <p:cNvSpPr/>
          <p:nvPr/>
        </p:nvSpPr>
        <p:spPr>
          <a:xfrm>
            <a:off x="266723" y="6515992"/>
            <a:ext cx="11517309" cy="3420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TextBox 30">
            <a:extLst>
              <a:ext uri="{FF2B5EF4-FFF2-40B4-BE49-F238E27FC236}">
                <a16:creationId xmlns:a16="http://schemas.microsoft.com/office/drawing/2014/main" id="{FECC0AC8-F707-44CD-97AC-8634089A553E}"/>
              </a:ext>
            </a:extLst>
          </p:cNvPr>
          <p:cNvSpPr txBox="1"/>
          <p:nvPr/>
        </p:nvSpPr>
        <p:spPr>
          <a:xfrm>
            <a:off x="266724" y="6556822"/>
            <a:ext cx="11455177" cy="246221"/>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Source: national statistics &amp; central banks </a:t>
            </a:r>
            <a:endParaRPr lang="ru-R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Прямоугольник 34">
            <a:extLst>
              <a:ext uri="{FF2B5EF4-FFF2-40B4-BE49-F238E27FC236}">
                <a16:creationId xmlns:a16="http://schemas.microsoft.com/office/drawing/2014/main" id="{6141E274-1473-4A7B-A71B-DB3BDE9BE511}"/>
              </a:ext>
            </a:extLst>
          </p:cNvPr>
          <p:cNvSpPr/>
          <p:nvPr/>
        </p:nvSpPr>
        <p:spPr>
          <a:xfrm>
            <a:off x="266723" y="1567160"/>
            <a:ext cx="4758582"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Commodity prices indexes, 1992 – 2022 (October) </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Прямоугольник 7">
            <a:extLst>
              <a:ext uri="{FF2B5EF4-FFF2-40B4-BE49-F238E27FC236}">
                <a16:creationId xmlns:a16="http://schemas.microsoft.com/office/drawing/2014/main" id="{D37AB775-596C-110A-7021-1F1786C23AC2}"/>
              </a:ext>
            </a:extLst>
          </p:cNvPr>
          <p:cNvSpPr/>
          <p:nvPr/>
        </p:nvSpPr>
        <p:spPr>
          <a:xfrm>
            <a:off x="6567413" y="1593721"/>
            <a:ext cx="4758582"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Inflation rate in major developing economies</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5" name="Диаграмма 4">
            <a:extLst>
              <a:ext uri="{FF2B5EF4-FFF2-40B4-BE49-F238E27FC236}">
                <a16:creationId xmlns:a16="http://schemas.microsoft.com/office/drawing/2014/main" id="{16B57508-C3FB-AE46-DBE4-9DA8F8F04EEE}"/>
              </a:ext>
            </a:extLst>
          </p:cNvPr>
          <p:cNvGraphicFramePr>
            <a:graphicFrameLocks/>
          </p:cNvGraphicFramePr>
          <p:nvPr>
            <p:extLst>
              <p:ext uri="{D42A27DB-BD31-4B8C-83A1-F6EECF244321}">
                <p14:modId xmlns:p14="http://schemas.microsoft.com/office/powerpoint/2010/main" val="3506940653"/>
              </p:ext>
            </p:extLst>
          </p:nvPr>
        </p:nvGraphicFramePr>
        <p:xfrm>
          <a:off x="306312" y="1760617"/>
          <a:ext cx="5688000" cy="4644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9" name="Диаграмма 8">
            <a:extLst>
              <a:ext uri="{FF2B5EF4-FFF2-40B4-BE49-F238E27FC236}">
                <a16:creationId xmlns:a16="http://schemas.microsoft.com/office/drawing/2014/main" id="{11CD4FF4-83B6-E86E-8412-B8D556F6D36F}"/>
              </a:ext>
            </a:extLst>
          </p:cNvPr>
          <p:cNvGraphicFramePr>
            <a:graphicFrameLocks/>
          </p:cNvGraphicFramePr>
          <p:nvPr>
            <p:extLst>
              <p:ext uri="{D42A27DB-BD31-4B8C-83A1-F6EECF244321}">
                <p14:modId xmlns:p14="http://schemas.microsoft.com/office/powerpoint/2010/main" val="4052688696"/>
              </p:ext>
            </p:extLst>
          </p:nvPr>
        </p:nvGraphicFramePr>
        <p:xfrm>
          <a:off x="6384375" y="1870720"/>
          <a:ext cx="5760000" cy="46080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5555997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4" name="Объект 3" hidden="1"/>
                      <p:cNvPicPr/>
                      <p:nvPr/>
                    </p:nvPicPr>
                    <p:blipFill>
                      <a:blip r:embed="rId9"/>
                      <a:stretch>
                        <a:fillRect/>
                      </a:stretch>
                    </p:blipFill>
                    <p:spPr>
                      <a:xfrm>
                        <a:off x="-1522412" y="1588"/>
                        <a:ext cx="1588" cy="1588"/>
                      </a:xfrm>
                      <a:prstGeom prst="rect">
                        <a:avLst/>
                      </a:prstGeom>
                    </p:spPr>
                  </p:pic>
                </p:oleObj>
              </mc:Fallback>
            </mc:AlternateContent>
          </a:graphicData>
        </a:graphic>
      </p:graphicFrame>
      <p:sp>
        <p:nvSpPr>
          <p:cNvPr id="2" name="Прямоугольник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900" dirty="0">
              <a:sym typeface="+mn-lt"/>
            </a:endParaRPr>
          </a:p>
        </p:txBody>
      </p:sp>
      <p:sp>
        <p:nvSpPr>
          <p:cNvPr id="161" name="Текст 2"/>
          <p:cNvSpPr>
            <a:spLocks noGrp="1"/>
          </p:cNvSpPr>
          <p:nvPr>
            <p:custDataLst>
              <p:tags r:id="rId3"/>
            </p:custDataLst>
          </p:nvPr>
        </p:nvSpPr>
        <p:spPr bwMode="auto">
          <a:xfrm>
            <a:off x="5025305"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9" name="Текст 2"/>
          <p:cNvSpPr>
            <a:spLocks noGrp="1"/>
          </p:cNvSpPr>
          <p:nvPr>
            <p:custDataLst>
              <p:tags r:id="rId4"/>
            </p:custDataLst>
          </p:nvPr>
        </p:nvSpPr>
        <p:spPr bwMode="auto">
          <a:xfrm>
            <a:off x="6912843"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0" name="TextBox 149"/>
          <p:cNvSpPr txBox="1"/>
          <p:nvPr/>
        </p:nvSpPr>
        <p:spPr>
          <a:xfrm>
            <a:off x="180994" y="214799"/>
            <a:ext cx="9997336" cy="584775"/>
          </a:xfrm>
          <a:prstGeom prst="rect">
            <a:avLst/>
          </a:prstGeom>
          <a:noFill/>
        </p:spPr>
        <p:txBody>
          <a:bodyPr wrap="square" rtlCol="0">
            <a:spAutoFit/>
          </a:bodyPr>
          <a:lstStyle/>
          <a:p>
            <a:r>
              <a:rPr lang="en-US" sz="3200" b="1" dirty="0">
                <a:solidFill>
                  <a:srgbClr val="0264A6"/>
                </a:solidFill>
                <a:latin typeface="Gilroy SemiBold" panose="00000700000000000000" pitchFamily="2" charset="-52"/>
                <a:ea typeface="+mj-ea"/>
                <a:cs typeface="Arial" panose="020B0604020202020204" pitchFamily="34" charset="0"/>
              </a:rPr>
              <a:t>Economic activity was robust in 2023</a:t>
            </a:r>
            <a:endParaRPr lang="ru-RU" sz="3200" b="1" dirty="0">
              <a:solidFill>
                <a:srgbClr val="0264A6"/>
              </a:solidFill>
              <a:latin typeface="Gilroy SemiBold" panose="00000700000000000000" pitchFamily="2" charset="-52"/>
              <a:ea typeface="+mj-ea"/>
              <a:cs typeface="Arial" panose="020B0604020202020204" pitchFamily="34" charset="0"/>
            </a:endParaRPr>
          </a:p>
        </p:txBody>
      </p:sp>
      <p:grpSp>
        <p:nvGrpSpPr>
          <p:cNvPr id="7" name="Группа 6">
            <a:extLst>
              <a:ext uri="{FF2B5EF4-FFF2-40B4-BE49-F238E27FC236}">
                <a16:creationId xmlns:a16="http://schemas.microsoft.com/office/drawing/2014/main" id="{BBBD4993-86B1-4875-B96A-2FA2CF99D89C}"/>
              </a:ext>
            </a:extLst>
          </p:cNvPr>
          <p:cNvGrpSpPr/>
          <p:nvPr/>
        </p:nvGrpSpPr>
        <p:grpSpPr>
          <a:xfrm>
            <a:off x="9758363" y="44831"/>
            <a:ext cx="2386012" cy="584775"/>
            <a:chOff x="9296096" y="44831"/>
            <a:chExt cx="2820005" cy="668040"/>
          </a:xfrm>
        </p:grpSpPr>
        <p:pic>
          <p:nvPicPr>
            <p:cNvPr id="25" name="Рисунок 24">
              <a:extLst>
                <a:ext uri="{FF2B5EF4-FFF2-40B4-BE49-F238E27FC236}">
                  <a16:creationId xmlns:a16="http://schemas.microsoft.com/office/drawing/2014/main" id="{9FBC346F-479B-4113-9D43-35F85BD2D10E}"/>
                </a:ext>
              </a:extLst>
            </p:cNvPr>
            <p:cNvPicPr>
              <a:picLocks noChangeAspect="1"/>
            </p:cNvPicPr>
            <p:nvPr>
              <p:custDataLst>
                <p:custData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96096" y="44831"/>
              <a:ext cx="2820005" cy="668040"/>
            </a:xfrm>
            <a:prstGeom prst="rect">
              <a:avLst/>
            </a:prstGeom>
          </p:spPr>
        </p:pic>
        <p:sp>
          <p:nvSpPr>
            <p:cNvPr id="6" name="Прямоугольник 5">
              <a:extLst>
                <a:ext uri="{FF2B5EF4-FFF2-40B4-BE49-F238E27FC236}">
                  <a16:creationId xmlns:a16="http://schemas.microsoft.com/office/drawing/2014/main" id="{C6A16946-3E49-41B7-B835-718DD62B3ADF}"/>
                </a:ext>
              </a:extLst>
            </p:cNvPr>
            <p:cNvSpPr/>
            <p:nvPr/>
          </p:nvSpPr>
          <p:spPr>
            <a:xfrm>
              <a:off x="11148865" y="471489"/>
              <a:ext cx="920079" cy="16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9" name="Прямоугольник 28">
            <a:extLst>
              <a:ext uri="{FF2B5EF4-FFF2-40B4-BE49-F238E27FC236}">
                <a16:creationId xmlns:a16="http://schemas.microsoft.com/office/drawing/2014/main" id="{DC77903F-9882-4466-B7C8-9DE864C2E167}"/>
              </a:ext>
            </a:extLst>
          </p:cNvPr>
          <p:cNvSpPr/>
          <p:nvPr/>
        </p:nvSpPr>
        <p:spPr>
          <a:xfrm>
            <a:off x="266723" y="6515992"/>
            <a:ext cx="11517309" cy="3420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TextBox 30">
            <a:extLst>
              <a:ext uri="{FF2B5EF4-FFF2-40B4-BE49-F238E27FC236}">
                <a16:creationId xmlns:a16="http://schemas.microsoft.com/office/drawing/2014/main" id="{FECC0AC8-F707-44CD-97AC-8634089A553E}"/>
              </a:ext>
            </a:extLst>
          </p:cNvPr>
          <p:cNvSpPr txBox="1"/>
          <p:nvPr/>
        </p:nvSpPr>
        <p:spPr>
          <a:xfrm>
            <a:off x="266724" y="6556822"/>
            <a:ext cx="11455177" cy="246221"/>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Source: national statistics, OECD, IMF</a:t>
            </a:r>
            <a:endParaRPr lang="ru-R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Прямоугольник 34">
            <a:extLst>
              <a:ext uri="{FF2B5EF4-FFF2-40B4-BE49-F238E27FC236}">
                <a16:creationId xmlns:a16="http://schemas.microsoft.com/office/drawing/2014/main" id="{6141E274-1473-4A7B-A71B-DB3BDE9BE511}"/>
              </a:ext>
            </a:extLst>
          </p:cNvPr>
          <p:cNvSpPr/>
          <p:nvPr/>
        </p:nvSpPr>
        <p:spPr>
          <a:xfrm>
            <a:off x="266723" y="766061"/>
            <a:ext cx="4758582"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GDP growth rates of major developed economies </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Прямоугольник 8">
            <a:extLst>
              <a:ext uri="{FF2B5EF4-FFF2-40B4-BE49-F238E27FC236}">
                <a16:creationId xmlns:a16="http://schemas.microsoft.com/office/drawing/2014/main" id="{B230F020-D873-27A1-A689-75EF40566452}"/>
              </a:ext>
            </a:extLst>
          </p:cNvPr>
          <p:cNvSpPr/>
          <p:nvPr/>
        </p:nvSpPr>
        <p:spPr>
          <a:xfrm>
            <a:off x="6096000" y="766061"/>
            <a:ext cx="4758582"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GDP growth rates of major developing economies </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Диаграмма 2">
            <a:extLst>
              <a:ext uri="{FF2B5EF4-FFF2-40B4-BE49-F238E27FC236}">
                <a16:creationId xmlns:a16="http://schemas.microsoft.com/office/drawing/2014/main" id="{62DF0E3E-7DA8-687C-5D72-F34764D36C11}"/>
              </a:ext>
            </a:extLst>
          </p:cNvPr>
          <p:cNvGraphicFramePr>
            <a:graphicFrameLocks/>
          </p:cNvGraphicFramePr>
          <p:nvPr>
            <p:extLst>
              <p:ext uri="{D42A27DB-BD31-4B8C-83A1-F6EECF244321}">
                <p14:modId xmlns:p14="http://schemas.microsoft.com/office/powerpoint/2010/main" val="525831802"/>
              </p:ext>
            </p:extLst>
          </p:nvPr>
        </p:nvGraphicFramePr>
        <p:xfrm>
          <a:off x="180994" y="1163051"/>
          <a:ext cx="5784493" cy="4680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8" name="Диаграмма 7">
            <a:extLst>
              <a:ext uri="{FF2B5EF4-FFF2-40B4-BE49-F238E27FC236}">
                <a16:creationId xmlns:a16="http://schemas.microsoft.com/office/drawing/2014/main" id="{125B0850-686B-4DC5-821E-BD556E3FA0E0}"/>
              </a:ext>
            </a:extLst>
          </p:cNvPr>
          <p:cNvGraphicFramePr>
            <a:graphicFrameLocks/>
          </p:cNvGraphicFramePr>
          <p:nvPr>
            <p:extLst>
              <p:ext uri="{D42A27DB-BD31-4B8C-83A1-F6EECF244321}">
                <p14:modId xmlns:p14="http://schemas.microsoft.com/office/powerpoint/2010/main" val="731373131"/>
              </p:ext>
            </p:extLst>
          </p:nvPr>
        </p:nvGraphicFramePr>
        <p:xfrm>
          <a:off x="6096000" y="1163051"/>
          <a:ext cx="5784493" cy="46800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330017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4" name="Объект 3" hidden="1"/>
                      <p:cNvPicPr/>
                      <p:nvPr/>
                    </p:nvPicPr>
                    <p:blipFill>
                      <a:blip r:embed="rId9"/>
                      <a:stretch>
                        <a:fillRect/>
                      </a:stretch>
                    </p:blipFill>
                    <p:spPr>
                      <a:xfrm>
                        <a:off x="-1522412" y="1588"/>
                        <a:ext cx="1588" cy="1588"/>
                      </a:xfrm>
                      <a:prstGeom prst="rect">
                        <a:avLst/>
                      </a:prstGeom>
                    </p:spPr>
                  </p:pic>
                </p:oleObj>
              </mc:Fallback>
            </mc:AlternateContent>
          </a:graphicData>
        </a:graphic>
      </p:graphicFrame>
      <p:sp>
        <p:nvSpPr>
          <p:cNvPr id="2" name="Прямоугольник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900" dirty="0">
              <a:sym typeface="+mn-lt"/>
            </a:endParaRPr>
          </a:p>
        </p:txBody>
      </p:sp>
      <p:sp>
        <p:nvSpPr>
          <p:cNvPr id="161" name="Текст 2"/>
          <p:cNvSpPr>
            <a:spLocks noGrp="1"/>
          </p:cNvSpPr>
          <p:nvPr>
            <p:custDataLst>
              <p:tags r:id="rId3"/>
            </p:custDataLst>
          </p:nvPr>
        </p:nvSpPr>
        <p:spPr bwMode="auto">
          <a:xfrm>
            <a:off x="5025305"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9" name="Текст 2"/>
          <p:cNvSpPr>
            <a:spLocks noGrp="1"/>
          </p:cNvSpPr>
          <p:nvPr>
            <p:custDataLst>
              <p:tags r:id="rId4"/>
            </p:custDataLst>
          </p:nvPr>
        </p:nvSpPr>
        <p:spPr bwMode="auto">
          <a:xfrm>
            <a:off x="6912843"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0" name="TextBox 149"/>
          <p:cNvSpPr txBox="1"/>
          <p:nvPr/>
        </p:nvSpPr>
        <p:spPr>
          <a:xfrm>
            <a:off x="180994" y="214799"/>
            <a:ext cx="9997336" cy="584775"/>
          </a:xfrm>
          <a:prstGeom prst="rect">
            <a:avLst/>
          </a:prstGeom>
          <a:noFill/>
        </p:spPr>
        <p:txBody>
          <a:bodyPr wrap="square" rtlCol="0">
            <a:spAutoFit/>
          </a:bodyPr>
          <a:lstStyle/>
          <a:p>
            <a:r>
              <a:rPr lang="en-US" sz="3200" b="1" dirty="0">
                <a:solidFill>
                  <a:srgbClr val="0264A6"/>
                </a:solidFill>
                <a:latin typeface="Gilroy SemiBold" panose="00000700000000000000" pitchFamily="2" charset="-52"/>
                <a:ea typeface="+mj-ea"/>
                <a:cs typeface="Arial" panose="020B0604020202020204" pitchFamily="34" charset="0"/>
              </a:rPr>
              <a:t>Energy prices pressure had faded to a larger extent </a:t>
            </a:r>
            <a:endParaRPr lang="ru-RU" sz="3200" b="1" dirty="0">
              <a:solidFill>
                <a:srgbClr val="0264A6"/>
              </a:solidFill>
              <a:latin typeface="Gilroy SemiBold" panose="00000700000000000000" pitchFamily="2" charset="-52"/>
              <a:ea typeface="+mj-ea"/>
              <a:cs typeface="Arial" panose="020B0604020202020204" pitchFamily="34" charset="0"/>
            </a:endParaRPr>
          </a:p>
        </p:txBody>
      </p:sp>
      <p:grpSp>
        <p:nvGrpSpPr>
          <p:cNvPr id="7" name="Группа 6">
            <a:extLst>
              <a:ext uri="{FF2B5EF4-FFF2-40B4-BE49-F238E27FC236}">
                <a16:creationId xmlns:a16="http://schemas.microsoft.com/office/drawing/2014/main" id="{BBBD4993-86B1-4875-B96A-2FA2CF99D89C}"/>
              </a:ext>
            </a:extLst>
          </p:cNvPr>
          <p:cNvGrpSpPr/>
          <p:nvPr/>
        </p:nvGrpSpPr>
        <p:grpSpPr>
          <a:xfrm>
            <a:off x="9758363" y="44831"/>
            <a:ext cx="2386012" cy="584775"/>
            <a:chOff x="9296096" y="44831"/>
            <a:chExt cx="2820005" cy="668040"/>
          </a:xfrm>
        </p:grpSpPr>
        <p:pic>
          <p:nvPicPr>
            <p:cNvPr id="25" name="Рисунок 24">
              <a:extLst>
                <a:ext uri="{FF2B5EF4-FFF2-40B4-BE49-F238E27FC236}">
                  <a16:creationId xmlns:a16="http://schemas.microsoft.com/office/drawing/2014/main" id="{9FBC346F-479B-4113-9D43-35F85BD2D10E}"/>
                </a:ext>
              </a:extLst>
            </p:cNvPr>
            <p:cNvPicPr>
              <a:picLocks noChangeAspect="1"/>
            </p:cNvPicPr>
            <p:nvPr>
              <p:custDataLst>
                <p:custData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96096" y="44831"/>
              <a:ext cx="2820005" cy="668040"/>
            </a:xfrm>
            <a:prstGeom prst="rect">
              <a:avLst/>
            </a:prstGeom>
          </p:spPr>
        </p:pic>
        <p:sp>
          <p:nvSpPr>
            <p:cNvPr id="6" name="Прямоугольник 5">
              <a:extLst>
                <a:ext uri="{FF2B5EF4-FFF2-40B4-BE49-F238E27FC236}">
                  <a16:creationId xmlns:a16="http://schemas.microsoft.com/office/drawing/2014/main" id="{C6A16946-3E49-41B7-B835-718DD62B3ADF}"/>
                </a:ext>
              </a:extLst>
            </p:cNvPr>
            <p:cNvSpPr/>
            <p:nvPr/>
          </p:nvSpPr>
          <p:spPr>
            <a:xfrm>
              <a:off x="11148865" y="471489"/>
              <a:ext cx="920079" cy="16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9" name="Прямоугольник 28">
            <a:extLst>
              <a:ext uri="{FF2B5EF4-FFF2-40B4-BE49-F238E27FC236}">
                <a16:creationId xmlns:a16="http://schemas.microsoft.com/office/drawing/2014/main" id="{DC77903F-9882-4466-B7C8-9DE864C2E167}"/>
              </a:ext>
            </a:extLst>
          </p:cNvPr>
          <p:cNvSpPr/>
          <p:nvPr/>
        </p:nvSpPr>
        <p:spPr>
          <a:xfrm>
            <a:off x="266723" y="6515992"/>
            <a:ext cx="11517309" cy="3420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TextBox 30">
            <a:extLst>
              <a:ext uri="{FF2B5EF4-FFF2-40B4-BE49-F238E27FC236}">
                <a16:creationId xmlns:a16="http://schemas.microsoft.com/office/drawing/2014/main" id="{FECC0AC8-F707-44CD-97AC-8634089A553E}"/>
              </a:ext>
            </a:extLst>
          </p:cNvPr>
          <p:cNvSpPr txBox="1"/>
          <p:nvPr/>
        </p:nvSpPr>
        <p:spPr>
          <a:xfrm>
            <a:off x="266724" y="6556822"/>
            <a:ext cx="11455177" cy="246221"/>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Source: EEX, Eurostat, ENTSO-G</a:t>
            </a:r>
            <a:endParaRPr lang="ru-R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Прямоугольник 34">
            <a:extLst>
              <a:ext uri="{FF2B5EF4-FFF2-40B4-BE49-F238E27FC236}">
                <a16:creationId xmlns:a16="http://schemas.microsoft.com/office/drawing/2014/main" id="{6141E274-1473-4A7B-A71B-DB3BDE9BE511}"/>
              </a:ext>
            </a:extLst>
          </p:cNvPr>
          <p:cNvSpPr/>
          <p:nvPr/>
        </p:nvSpPr>
        <p:spPr>
          <a:xfrm>
            <a:off x="266723" y="958196"/>
            <a:ext cx="4758582"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TTF gas prices returned to pre-crisis levels</a:t>
            </a:r>
            <a:r>
              <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 ... </a:t>
            </a:r>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 </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Прямоугольник 7">
            <a:extLst>
              <a:ext uri="{FF2B5EF4-FFF2-40B4-BE49-F238E27FC236}">
                <a16:creationId xmlns:a16="http://schemas.microsoft.com/office/drawing/2014/main" id="{D37AB775-596C-110A-7021-1F1786C23AC2}"/>
              </a:ext>
            </a:extLst>
          </p:cNvPr>
          <p:cNvSpPr/>
          <p:nvPr/>
        </p:nvSpPr>
        <p:spPr>
          <a:xfrm>
            <a:off x="6193809" y="958196"/>
            <a:ext cx="4758582" cy="276999"/>
          </a:xfrm>
          <a:prstGeom prst="rect">
            <a:avLst/>
          </a:prstGeom>
        </p:spPr>
        <p:txBody>
          <a:bodyPr wrap="square">
            <a:spAutoFit/>
          </a:bodyPr>
          <a:lstStyle/>
          <a:p>
            <a:r>
              <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 … </a:t>
            </a:r>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as demand had fallen by 22-25%</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5" name="Диаграмма 4">
            <a:extLst>
              <a:ext uri="{FF2B5EF4-FFF2-40B4-BE49-F238E27FC236}">
                <a16:creationId xmlns:a16="http://schemas.microsoft.com/office/drawing/2014/main" id="{5C739137-9727-44B4-A1C6-D25D52D8705B}"/>
              </a:ext>
            </a:extLst>
          </p:cNvPr>
          <p:cNvGraphicFramePr>
            <a:graphicFrameLocks/>
          </p:cNvGraphicFramePr>
          <p:nvPr>
            <p:extLst>
              <p:ext uri="{D42A27DB-BD31-4B8C-83A1-F6EECF244321}">
                <p14:modId xmlns:p14="http://schemas.microsoft.com/office/powerpoint/2010/main" val="3681075438"/>
              </p:ext>
            </p:extLst>
          </p:nvPr>
        </p:nvGraphicFramePr>
        <p:xfrm>
          <a:off x="238191" y="1350836"/>
          <a:ext cx="5756121" cy="494240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9" name="Диаграмма 8">
            <a:extLst>
              <a:ext uri="{FF2B5EF4-FFF2-40B4-BE49-F238E27FC236}">
                <a16:creationId xmlns:a16="http://schemas.microsoft.com/office/drawing/2014/main" id="{4E0816C1-F6B5-4CE8-9748-DF83E23A7AE9}"/>
              </a:ext>
            </a:extLst>
          </p:cNvPr>
          <p:cNvGraphicFramePr>
            <a:graphicFrameLocks/>
          </p:cNvGraphicFramePr>
          <p:nvPr>
            <p:extLst>
              <p:ext uri="{D42A27DB-BD31-4B8C-83A1-F6EECF244321}">
                <p14:modId xmlns:p14="http://schemas.microsoft.com/office/powerpoint/2010/main" val="2078110788"/>
              </p:ext>
            </p:extLst>
          </p:nvPr>
        </p:nvGraphicFramePr>
        <p:xfrm>
          <a:off x="6193809" y="1474219"/>
          <a:ext cx="5760000" cy="2016736"/>
        </p:xfrm>
        <a:graphic>
          <a:graphicData uri="http://schemas.openxmlformats.org/drawingml/2006/chart">
            <c:chart xmlns:c="http://schemas.openxmlformats.org/drawingml/2006/chart" xmlns:r="http://schemas.openxmlformats.org/officeDocument/2006/relationships" r:id="rId13"/>
          </a:graphicData>
        </a:graphic>
      </p:graphicFrame>
      <p:sp>
        <p:nvSpPr>
          <p:cNvPr id="11" name="Прямоугольник 10">
            <a:extLst>
              <a:ext uri="{FF2B5EF4-FFF2-40B4-BE49-F238E27FC236}">
                <a16:creationId xmlns:a16="http://schemas.microsoft.com/office/drawing/2014/main" id="{069899C9-943F-7EE4-0711-E9C27A148C37}"/>
              </a:ext>
            </a:extLst>
          </p:cNvPr>
          <p:cNvSpPr/>
          <p:nvPr/>
        </p:nvSpPr>
        <p:spPr>
          <a:xfrm>
            <a:off x="6193809" y="1249255"/>
            <a:ext cx="5563065" cy="276999"/>
          </a:xfrm>
          <a:prstGeom prst="rect">
            <a:avLst/>
          </a:prstGeom>
        </p:spPr>
        <p:txBody>
          <a:bodyPr wrap="square">
            <a:spAutoFit/>
          </a:bodyPr>
          <a:lstStyle/>
          <a:p>
            <a:r>
              <a:rPr lang="en-US" sz="1200" b="1" i="1" dirty="0">
                <a:latin typeface="Open Sans" panose="020B0606030504020204" pitchFamily="34" charset="0"/>
                <a:ea typeface="Open Sans" panose="020B0606030504020204" pitchFamily="34" charset="0"/>
                <a:cs typeface="Open Sans" panose="020B0606030504020204" pitchFamily="34" charset="0"/>
              </a:rPr>
              <a:t>Gas demand change in 2Q23 compared to 2019-21 average levels </a:t>
            </a:r>
            <a:endParaRPr lang="ru-RU" sz="1200" b="1" i="1"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Прямоугольник 11">
            <a:extLst>
              <a:ext uri="{FF2B5EF4-FFF2-40B4-BE49-F238E27FC236}">
                <a16:creationId xmlns:a16="http://schemas.microsoft.com/office/drawing/2014/main" id="{E1A8EDAA-1BF6-1F82-9792-542E811BD304}"/>
              </a:ext>
            </a:extLst>
          </p:cNvPr>
          <p:cNvSpPr/>
          <p:nvPr/>
        </p:nvSpPr>
        <p:spPr>
          <a:xfrm>
            <a:off x="6193809" y="3660924"/>
            <a:ext cx="5756120"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and increased LNG inflows partially substituted Russian pipeline gas </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3" name="Диаграмма 12">
            <a:extLst>
              <a:ext uri="{FF2B5EF4-FFF2-40B4-BE49-F238E27FC236}">
                <a16:creationId xmlns:a16="http://schemas.microsoft.com/office/drawing/2014/main" id="{5435EBDA-DB7C-CA33-B49D-FFEBE4F297CF}"/>
              </a:ext>
            </a:extLst>
          </p:cNvPr>
          <p:cNvGraphicFramePr>
            <a:graphicFrameLocks/>
          </p:cNvGraphicFramePr>
          <p:nvPr>
            <p:extLst>
              <p:ext uri="{D42A27DB-BD31-4B8C-83A1-F6EECF244321}">
                <p14:modId xmlns:p14="http://schemas.microsoft.com/office/powerpoint/2010/main" val="2513239468"/>
              </p:ext>
            </p:extLst>
          </p:nvPr>
        </p:nvGraphicFramePr>
        <p:xfrm>
          <a:off x="6193809" y="4142626"/>
          <a:ext cx="5756121" cy="2203397"/>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3769174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4" name="Объект 3" hidden="1"/>
                      <p:cNvPicPr/>
                      <p:nvPr/>
                    </p:nvPicPr>
                    <p:blipFill>
                      <a:blip r:embed="rId9"/>
                      <a:stretch>
                        <a:fillRect/>
                      </a:stretch>
                    </p:blipFill>
                    <p:spPr>
                      <a:xfrm>
                        <a:off x="-1522412" y="1588"/>
                        <a:ext cx="1588" cy="1588"/>
                      </a:xfrm>
                      <a:prstGeom prst="rect">
                        <a:avLst/>
                      </a:prstGeom>
                    </p:spPr>
                  </p:pic>
                </p:oleObj>
              </mc:Fallback>
            </mc:AlternateContent>
          </a:graphicData>
        </a:graphic>
      </p:graphicFrame>
      <p:sp>
        <p:nvSpPr>
          <p:cNvPr id="2" name="Прямоугольник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900" dirty="0">
              <a:sym typeface="+mn-lt"/>
            </a:endParaRPr>
          </a:p>
        </p:txBody>
      </p:sp>
      <p:sp>
        <p:nvSpPr>
          <p:cNvPr id="161" name="Текст 2"/>
          <p:cNvSpPr>
            <a:spLocks noGrp="1"/>
          </p:cNvSpPr>
          <p:nvPr>
            <p:custDataLst>
              <p:tags r:id="rId3"/>
            </p:custDataLst>
          </p:nvPr>
        </p:nvSpPr>
        <p:spPr bwMode="auto">
          <a:xfrm>
            <a:off x="5025305"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9" name="Текст 2"/>
          <p:cNvSpPr>
            <a:spLocks noGrp="1"/>
          </p:cNvSpPr>
          <p:nvPr>
            <p:custDataLst>
              <p:tags r:id="rId4"/>
            </p:custDataLst>
          </p:nvPr>
        </p:nvSpPr>
        <p:spPr bwMode="auto">
          <a:xfrm>
            <a:off x="6912843"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0" name="TextBox 149"/>
          <p:cNvSpPr txBox="1"/>
          <p:nvPr/>
        </p:nvSpPr>
        <p:spPr>
          <a:xfrm>
            <a:off x="180994" y="214799"/>
            <a:ext cx="9997336" cy="584775"/>
          </a:xfrm>
          <a:prstGeom prst="rect">
            <a:avLst/>
          </a:prstGeom>
          <a:noFill/>
        </p:spPr>
        <p:txBody>
          <a:bodyPr wrap="square" rtlCol="0">
            <a:spAutoFit/>
          </a:bodyPr>
          <a:lstStyle/>
          <a:p>
            <a:r>
              <a:rPr lang="en-US" sz="3200" b="1" dirty="0">
                <a:solidFill>
                  <a:srgbClr val="0264A6"/>
                </a:solidFill>
                <a:latin typeface="Gilroy SemiBold" panose="00000700000000000000" pitchFamily="2" charset="-52"/>
                <a:ea typeface="+mj-ea"/>
                <a:cs typeface="Arial" panose="020B0604020202020204" pitchFamily="34" charset="0"/>
              </a:rPr>
              <a:t>Global economy looks stronger than was expected </a:t>
            </a:r>
            <a:endParaRPr lang="ru-RU" sz="3200" b="1" dirty="0">
              <a:solidFill>
                <a:srgbClr val="0264A6"/>
              </a:solidFill>
              <a:latin typeface="Gilroy SemiBold" panose="00000700000000000000" pitchFamily="2" charset="-52"/>
              <a:ea typeface="+mj-ea"/>
              <a:cs typeface="Arial" panose="020B0604020202020204" pitchFamily="34" charset="0"/>
            </a:endParaRPr>
          </a:p>
        </p:txBody>
      </p:sp>
      <p:grpSp>
        <p:nvGrpSpPr>
          <p:cNvPr id="7" name="Группа 6">
            <a:extLst>
              <a:ext uri="{FF2B5EF4-FFF2-40B4-BE49-F238E27FC236}">
                <a16:creationId xmlns:a16="http://schemas.microsoft.com/office/drawing/2014/main" id="{BBBD4993-86B1-4875-B96A-2FA2CF99D89C}"/>
              </a:ext>
            </a:extLst>
          </p:cNvPr>
          <p:cNvGrpSpPr/>
          <p:nvPr/>
        </p:nvGrpSpPr>
        <p:grpSpPr>
          <a:xfrm>
            <a:off x="9758363" y="44831"/>
            <a:ext cx="2386012" cy="584775"/>
            <a:chOff x="9296096" y="44831"/>
            <a:chExt cx="2820005" cy="668040"/>
          </a:xfrm>
        </p:grpSpPr>
        <p:pic>
          <p:nvPicPr>
            <p:cNvPr id="25" name="Рисунок 24">
              <a:extLst>
                <a:ext uri="{FF2B5EF4-FFF2-40B4-BE49-F238E27FC236}">
                  <a16:creationId xmlns:a16="http://schemas.microsoft.com/office/drawing/2014/main" id="{9FBC346F-479B-4113-9D43-35F85BD2D10E}"/>
                </a:ext>
              </a:extLst>
            </p:cNvPr>
            <p:cNvPicPr>
              <a:picLocks noChangeAspect="1"/>
            </p:cNvPicPr>
            <p:nvPr>
              <p:custDataLst>
                <p:custData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96096" y="44831"/>
              <a:ext cx="2820005" cy="668040"/>
            </a:xfrm>
            <a:prstGeom prst="rect">
              <a:avLst/>
            </a:prstGeom>
          </p:spPr>
        </p:pic>
        <p:sp>
          <p:nvSpPr>
            <p:cNvPr id="6" name="Прямоугольник 5">
              <a:extLst>
                <a:ext uri="{FF2B5EF4-FFF2-40B4-BE49-F238E27FC236}">
                  <a16:creationId xmlns:a16="http://schemas.microsoft.com/office/drawing/2014/main" id="{C6A16946-3E49-41B7-B835-718DD62B3ADF}"/>
                </a:ext>
              </a:extLst>
            </p:cNvPr>
            <p:cNvSpPr/>
            <p:nvPr/>
          </p:nvSpPr>
          <p:spPr>
            <a:xfrm>
              <a:off x="11148865" y="471489"/>
              <a:ext cx="920079" cy="16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9" name="Прямоугольник 28">
            <a:extLst>
              <a:ext uri="{FF2B5EF4-FFF2-40B4-BE49-F238E27FC236}">
                <a16:creationId xmlns:a16="http://schemas.microsoft.com/office/drawing/2014/main" id="{DC77903F-9882-4466-B7C8-9DE864C2E167}"/>
              </a:ext>
            </a:extLst>
          </p:cNvPr>
          <p:cNvSpPr/>
          <p:nvPr/>
        </p:nvSpPr>
        <p:spPr>
          <a:xfrm>
            <a:off x="266723" y="6515992"/>
            <a:ext cx="11517309" cy="3420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TextBox 30">
            <a:extLst>
              <a:ext uri="{FF2B5EF4-FFF2-40B4-BE49-F238E27FC236}">
                <a16:creationId xmlns:a16="http://schemas.microsoft.com/office/drawing/2014/main" id="{FECC0AC8-F707-44CD-97AC-8634089A553E}"/>
              </a:ext>
            </a:extLst>
          </p:cNvPr>
          <p:cNvSpPr txBox="1"/>
          <p:nvPr/>
        </p:nvSpPr>
        <p:spPr>
          <a:xfrm>
            <a:off x="266724" y="6556822"/>
            <a:ext cx="11455177" cy="246221"/>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Source: national statistics, OECD, IMF</a:t>
            </a:r>
            <a:endParaRPr lang="ru-RU" sz="1000" dirty="0">
              <a:latin typeface="Open Sans" panose="020B0606030504020204" pitchFamily="34" charset="0"/>
              <a:ea typeface="Open Sans" panose="020B0606030504020204" pitchFamily="34" charset="0"/>
              <a:cs typeface="Open Sans" panose="020B0606030504020204" pitchFamily="34" charset="0"/>
            </a:endParaRPr>
          </a:p>
        </p:txBody>
      </p:sp>
      <p:pic>
        <p:nvPicPr>
          <p:cNvPr id="16" name="Рисунок 15">
            <a:extLst>
              <a:ext uri="{FF2B5EF4-FFF2-40B4-BE49-F238E27FC236}">
                <a16:creationId xmlns:a16="http://schemas.microsoft.com/office/drawing/2014/main" id="{CAF51D11-77BB-778E-EC0E-FF607844387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5444" y="1024482"/>
            <a:ext cx="6220206" cy="5054346"/>
          </a:xfrm>
          <a:prstGeom prst="rect">
            <a:avLst/>
          </a:prstGeom>
        </p:spPr>
      </p:pic>
      <p:pic>
        <p:nvPicPr>
          <p:cNvPr id="18" name="Рисунок 17">
            <a:extLst>
              <a:ext uri="{FF2B5EF4-FFF2-40B4-BE49-F238E27FC236}">
                <a16:creationId xmlns:a16="http://schemas.microsoft.com/office/drawing/2014/main" id="{3C27BAEC-DF80-1EA1-F6ED-363A6AB1999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176381" y="1024482"/>
            <a:ext cx="6220206" cy="5054346"/>
          </a:xfrm>
          <a:prstGeom prst="rect">
            <a:avLst/>
          </a:prstGeom>
        </p:spPr>
      </p:pic>
    </p:spTree>
    <p:extLst>
      <p:ext uri="{BB962C8B-B14F-4D97-AF65-F5344CB8AC3E}">
        <p14:creationId xmlns:p14="http://schemas.microsoft.com/office/powerpoint/2010/main" val="473774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4" name="Объект 3" hidden="1"/>
                      <p:cNvPicPr/>
                      <p:nvPr/>
                    </p:nvPicPr>
                    <p:blipFill>
                      <a:blip r:embed="rId9"/>
                      <a:stretch>
                        <a:fillRect/>
                      </a:stretch>
                    </p:blipFill>
                    <p:spPr>
                      <a:xfrm>
                        <a:off x="-1522412" y="1588"/>
                        <a:ext cx="1588" cy="1588"/>
                      </a:xfrm>
                      <a:prstGeom prst="rect">
                        <a:avLst/>
                      </a:prstGeom>
                    </p:spPr>
                  </p:pic>
                </p:oleObj>
              </mc:Fallback>
            </mc:AlternateContent>
          </a:graphicData>
        </a:graphic>
      </p:graphicFrame>
      <p:sp>
        <p:nvSpPr>
          <p:cNvPr id="2" name="Прямоугольник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900" dirty="0">
              <a:sym typeface="+mn-lt"/>
            </a:endParaRPr>
          </a:p>
        </p:txBody>
      </p:sp>
      <p:sp>
        <p:nvSpPr>
          <p:cNvPr id="161" name="Текст 2"/>
          <p:cNvSpPr>
            <a:spLocks noGrp="1"/>
          </p:cNvSpPr>
          <p:nvPr>
            <p:custDataLst>
              <p:tags r:id="rId3"/>
            </p:custDataLst>
          </p:nvPr>
        </p:nvSpPr>
        <p:spPr bwMode="auto">
          <a:xfrm>
            <a:off x="5025305"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9" name="Текст 2"/>
          <p:cNvSpPr>
            <a:spLocks noGrp="1"/>
          </p:cNvSpPr>
          <p:nvPr>
            <p:custDataLst>
              <p:tags r:id="rId4"/>
            </p:custDataLst>
          </p:nvPr>
        </p:nvSpPr>
        <p:spPr bwMode="auto">
          <a:xfrm>
            <a:off x="6912843"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0" name="TextBox 149"/>
          <p:cNvSpPr txBox="1"/>
          <p:nvPr/>
        </p:nvSpPr>
        <p:spPr>
          <a:xfrm>
            <a:off x="180994" y="214799"/>
            <a:ext cx="9997336" cy="584775"/>
          </a:xfrm>
          <a:prstGeom prst="rect">
            <a:avLst/>
          </a:prstGeom>
          <a:noFill/>
        </p:spPr>
        <p:txBody>
          <a:bodyPr wrap="square" rtlCol="0">
            <a:spAutoFit/>
          </a:bodyPr>
          <a:lstStyle/>
          <a:p>
            <a:r>
              <a:rPr lang="en-US" sz="3200" b="1" dirty="0">
                <a:solidFill>
                  <a:srgbClr val="0264A6"/>
                </a:solidFill>
                <a:latin typeface="Gilroy SemiBold" panose="00000700000000000000" pitchFamily="2" charset="-52"/>
                <a:ea typeface="+mj-ea"/>
                <a:cs typeface="Arial" panose="020B0604020202020204" pitchFamily="34" charset="0"/>
              </a:rPr>
              <a:t>EM economies are stronger in 2023, weaker in 2024</a:t>
            </a:r>
            <a:endParaRPr lang="ru-RU" sz="3200" b="1" dirty="0">
              <a:solidFill>
                <a:srgbClr val="0264A6"/>
              </a:solidFill>
              <a:latin typeface="Gilroy SemiBold" panose="00000700000000000000" pitchFamily="2" charset="-52"/>
              <a:ea typeface="+mj-ea"/>
              <a:cs typeface="Arial" panose="020B0604020202020204" pitchFamily="34" charset="0"/>
            </a:endParaRPr>
          </a:p>
        </p:txBody>
      </p:sp>
      <p:grpSp>
        <p:nvGrpSpPr>
          <p:cNvPr id="7" name="Группа 6">
            <a:extLst>
              <a:ext uri="{FF2B5EF4-FFF2-40B4-BE49-F238E27FC236}">
                <a16:creationId xmlns:a16="http://schemas.microsoft.com/office/drawing/2014/main" id="{BBBD4993-86B1-4875-B96A-2FA2CF99D89C}"/>
              </a:ext>
            </a:extLst>
          </p:cNvPr>
          <p:cNvGrpSpPr/>
          <p:nvPr/>
        </p:nvGrpSpPr>
        <p:grpSpPr>
          <a:xfrm>
            <a:off x="9758363" y="44831"/>
            <a:ext cx="2386012" cy="584775"/>
            <a:chOff x="9296096" y="44831"/>
            <a:chExt cx="2820005" cy="668040"/>
          </a:xfrm>
        </p:grpSpPr>
        <p:pic>
          <p:nvPicPr>
            <p:cNvPr id="25" name="Рисунок 24">
              <a:extLst>
                <a:ext uri="{FF2B5EF4-FFF2-40B4-BE49-F238E27FC236}">
                  <a16:creationId xmlns:a16="http://schemas.microsoft.com/office/drawing/2014/main" id="{9FBC346F-479B-4113-9D43-35F85BD2D10E}"/>
                </a:ext>
              </a:extLst>
            </p:cNvPr>
            <p:cNvPicPr>
              <a:picLocks noChangeAspect="1"/>
            </p:cNvPicPr>
            <p:nvPr>
              <p:custDataLst>
                <p:custData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96096" y="44831"/>
              <a:ext cx="2820005" cy="668040"/>
            </a:xfrm>
            <a:prstGeom prst="rect">
              <a:avLst/>
            </a:prstGeom>
          </p:spPr>
        </p:pic>
        <p:sp>
          <p:nvSpPr>
            <p:cNvPr id="6" name="Прямоугольник 5">
              <a:extLst>
                <a:ext uri="{FF2B5EF4-FFF2-40B4-BE49-F238E27FC236}">
                  <a16:creationId xmlns:a16="http://schemas.microsoft.com/office/drawing/2014/main" id="{C6A16946-3E49-41B7-B835-718DD62B3ADF}"/>
                </a:ext>
              </a:extLst>
            </p:cNvPr>
            <p:cNvSpPr/>
            <p:nvPr/>
          </p:nvSpPr>
          <p:spPr>
            <a:xfrm>
              <a:off x="11148865" y="471489"/>
              <a:ext cx="920079" cy="16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9" name="Прямоугольник 28">
            <a:extLst>
              <a:ext uri="{FF2B5EF4-FFF2-40B4-BE49-F238E27FC236}">
                <a16:creationId xmlns:a16="http://schemas.microsoft.com/office/drawing/2014/main" id="{DC77903F-9882-4466-B7C8-9DE864C2E167}"/>
              </a:ext>
            </a:extLst>
          </p:cNvPr>
          <p:cNvSpPr/>
          <p:nvPr/>
        </p:nvSpPr>
        <p:spPr>
          <a:xfrm>
            <a:off x="266723" y="6515992"/>
            <a:ext cx="11517309" cy="3420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TextBox 30">
            <a:extLst>
              <a:ext uri="{FF2B5EF4-FFF2-40B4-BE49-F238E27FC236}">
                <a16:creationId xmlns:a16="http://schemas.microsoft.com/office/drawing/2014/main" id="{FECC0AC8-F707-44CD-97AC-8634089A553E}"/>
              </a:ext>
            </a:extLst>
          </p:cNvPr>
          <p:cNvSpPr txBox="1"/>
          <p:nvPr/>
        </p:nvSpPr>
        <p:spPr>
          <a:xfrm>
            <a:off x="266724" y="6556822"/>
            <a:ext cx="11455177" cy="246221"/>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Source: IMF</a:t>
            </a:r>
            <a:endParaRPr lang="ru-RU" sz="1000" dirty="0">
              <a:latin typeface="Open Sans" panose="020B0606030504020204" pitchFamily="34" charset="0"/>
              <a:ea typeface="Open Sans" panose="020B0606030504020204" pitchFamily="34" charset="0"/>
              <a:cs typeface="Open Sans" panose="020B0606030504020204" pitchFamily="34" charset="0"/>
            </a:endParaRPr>
          </a:p>
        </p:txBody>
      </p:sp>
      <p:pic>
        <p:nvPicPr>
          <p:cNvPr id="5" name="Рисунок 4">
            <a:extLst>
              <a:ext uri="{FF2B5EF4-FFF2-40B4-BE49-F238E27FC236}">
                <a16:creationId xmlns:a16="http://schemas.microsoft.com/office/drawing/2014/main" id="{0D2195C8-09A4-AA8C-0466-D7669B6E9E5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112" y="1195637"/>
            <a:ext cx="6548058" cy="5320748"/>
          </a:xfrm>
          <a:prstGeom prst="rect">
            <a:avLst/>
          </a:prstGeom>
        </p:spPr>
      </p:pic>
      <p:pic>
        <p:nvPicPr>
          <p:cNvPr id="9" name="Рисунок 8">
            <a:extLst>
              <a:ext uri="{FF2B5EF4-FFF2-40B4-BE49-F238E27FC236}">
                <a16:creationId xmlns:a16="http://schemas.microsoft.com/office/drawing/2014/main" id="{92C15150-6EC2-694F-3C76-461B9718766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159907" y="1195637"/>
            <a:ext cx="6548059" cy="5320749"/>
          </a:xfrm>
          <a:prstGeom prst="rect">
            <a:avLst/>
          </a:prstGeom>
        </p:spPr>
      </p:pic>
      <p:sp>
        <p:nvSpPr>
          <p:cNvPr id="10" name="Прямоугольник 9">
            <a:extLst>
              <a:ext uri="{FF2B5EF4-FFF2-40B4-BE49-F238E27FC236}">
                <a16:creationId xmlns:a16="http://schemas.microsoft.com/office/drawing/2014/main" id="{E2F28345-924C-A74A-0995-D74B0D374174}"/>
              </a:ext>
            </a:extLst>
          </p:cNvPr>
          <p:cNvSpPr/>
          <p:nvPr/>
        </p:nvSpPr>
        <p:spPr>
          <a:xfrm>
            <a:off x="372740" y="887859"/>
            <a:ext cx="5564234" cy="307777"/>
          </a:xfrm>
          <a:prstGeom prst="rect">
            <a:avLst/>
          </a:prstGeom>
        </p:spPr>
        <p:txBody>
          <a:bodyPr wrap="square">
            <a:spAutoFit/>
          </a:bodyPr>
          <a:lstStyle/>
          <a:p>
            <a:pPr algn="ctr"/>
            <a:r>
              <a:rPr lang="en-US" sz="14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2023</a:t>
            </a:r>
            <a:endParaRPr lang="ru-RU" sz="14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Прямоугольник 10">
            <a:extLst>
              <a:ext uri="{FF2B5EF4-FFF2-40B4-BE49-F238E27FC236}">
                <a16:creationId xmlns:a16="http://schemas.microsoft.com/office/drawing/2014/main" id="{E5023F72-01AF-F51A-D7AD-94AE1831AFA8}"/>
              </a:ext>
            </a:extLst>
          </p:cNvPr>
          <p:cNvSpPr/>
          <p:nvPr/>
        </p:nvSpPr>
        <p:spPr>
          <a:xfrm>
            <a:off x="6722326" y="887859"/>
            <a:ext cx="5564234" cy="307777"/>
          </a:xfrm>
          <a:prstGeom prst="rect">
            <a:avLst/>
          </a:prstGeom>
        </p:spPr>
        <p:txBody>
          <a:bodyPr wrap="square">
            <a:spAutoFit/>
          </a:bodyPr>
          <a:lstStyle/>
          <a:p>
            <a:pPr algn="ctr"/>
            <a:r>
              <a:rPr lang="en-US" sz="14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2024</a:t>
            </a:r>
            <a:endParaRPr lang="ru-RU" sz="14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3532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4" name="Объект 3" hidden="1"/>
                      <p:cNvPicPr/>
                      <p:nvPr/>
                    </p:nvPicPr>
                    <p:blipFill>
                      <a:blip r:embed="rId9"/>
                      <a:stretch>
                        <a:fillRect/>
                      </a:stretch>
                    </p:blipFill>
                    <p:spPr>
                      <a:xfrm>
                        <a:off x="-1522412" y="1588"/>
                        <a:ext cx="1588" cy="1588"/>
                      </a:xfrm>
                      <a:prstGeom prst="rect">
                        <a:avLst/>
                      </a:prstGeom>
                    </p:spPr>
                  </p:pic>
                </p:oleObj>
              </mc:Fallback>
            </mc:AlternateContent>
          </a:graphicData>
        </a:graphic>
      </p:graphicFrame>
      <p:sp>
        <p:nvSpPr>
          <p:cNvPr id="2" name="Прямоугольник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900" dirty="0">
              <a:sym typeface="+mn-lt"/>
            </a:endParaRPr>
          </a:p>
        </p:txBody>
      </p:sp>
      <p:sp>
        <p:nvSpPr>
          <p:cNvPr id="161" name="Текст 2"/>
          <p:cNvSpPr>
            <a:spLocks noGrp="1"/>
          </p:cNvSpPr>
          <p:nvPr>
            <p:custDataLst>
              <p:tags r:id="rId3"/>
            </p:custDataLst>
          </p:nvPr>
        </p:nvSpPr>
        <p:spPr bwMode="auto">
          <a:xfrm>
            <a:off x="5025305"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9" name="Текст 2"/>
          <p:cNvSpPr>
            <a:spLocks noGrp="1"/>
          </p:cNvSpPr>
          <p:nvPr>
            <p:custDataLst>
              <p:tags r:id="rId4"/>
            </p:custDataLst>
          </p:nvPr>
        </p:nvSpPr>
        <p:spPr bwMode="auto">
          <a:xfrm>
            <a:off x="6912843"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0" name="TextBox 149"/>
          <p:cNvSpPr txBox="1"/>
          <p:nvPr/>
        </p:nvSpPr>
        <p:spPr>
          <a:xfrm>
            <a:off x="180994" y="214799"/>
            <a:ext cx="9997336" cy="584775"/>
          </a:xfrm>
          <a:prstGeom prst="rect">
            <a:avLst/>
          </a:prstGeom>
          <a:noFill/>
        </p:spPr>
        <p:txBody>
          <a:bodyPr wrap="square" rtlCol="0">
            <a:spAutoFit/>
          </a:bodyPr>
          <a:lstStyle/>
          <a:p>
            <a:r>
              <a:rPr lang="en-US" sz="3200" b="1" dirty="0">
                <a:solidFill>
                  <a:srgbClr val="0264A6"/>
                </a:solidFill>
                <a:latin typeface="Gilroy SemiBold" panose="00000700000000000000" pitchFamily="2" charset="-52"/>
                <a:ea typeface="+mj-ea"/>
                <a:cs typeface="Arial" panose="020B0604020202020204" pitchFamily="34" charset="0"/>
              </a:rPr>
              <a:t>Inflation peaked out but is still above targets </a:t>
            </a:r>
            <a:endParaRPr lang="ru-RU" sz="3200" b="1" dirty="0">
              <a:solidFill>
                <a:srgbClr val="0264A6"/>
              </a:solidFill>
              <a:latin typeface="Gilroy SemiBold" panose="00000700000000000000" pitchFamily="2" charset="-52"/>
              <a:ea typeface="+mj-ea"/>
              <a:cs typeface="Arial" panose="020B0604020202020204" pitchFamily="34" charset="0"/>
            </a:endParaRPr>
          </a:p>
        </p:txBody>
      </p:sp>
      <p:sp>
        <p:nvSpPr>
          <p:cNvPr id="28" name="Номер слайда 19"/>
          <p:cNvSpPr>
            <a:spLocks noGrp="1"/>
          </p:cNvSpPr>
          <p:nvPr>
            <p:ph type="sldNum" sz="quarter" idx="12"/>
          </p:nvPr>
        </p:nvSpPr>
        <p:spPr>
          <a:xfrm>
            <a:off x="11721901" y="6346024"/>
            <a:ext cx="268268" cy="348543"/>
          </a:xfrm>
        </p:spPr>
        <p:txBody>
          <a:bodyPr/>
          <a:lstStyle/>
          <a:p>
            <a:r>
              <a:rPr lang="en-US" sz="800" dirty="0">
                <a:latin typeface="Open Sans" panose="020B0606030504020204" pitchFamily="34" charset="0"/>
                <a:ea typeface="Open Sans" panose="020B0606030504020204" pitchFamily="34" charset="0"/>
                <a:cs typeface="Open Sans" panose="020B0606030504020204" pitchFamily="34" charset="0"/>
              </a:rPr>
              <a:t>3</a:t>
            </a:r>
            <a:endParaRPr lang="ru-RU" sz="8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Группа 6">
            <a:extLst>
              <a:ext uri="{FF2B5EF4-FFF2-40B4-BE49-F238E27FC236}">
                <a16:creationId xmlns:a16="http://schemas.microsoft.com/office/drawing/2014/main" id="{BBBD4993-86B1-4875-B96A-2FA2CF99D89C}"/>
              </a:ext>
            </a:extLst>
          </p:cNvPr>
          <p:cNvGrpSpPr/>
          <p:nvPr/>
        </p:nvGrpSpPr>
        <p:grpSpPr>
          <a:xfrm>
            <a:off x="9758363" y="44831"/>
            <a:ext cx="2386012" cy="584775"/>
            <a:chOff x="9296096" y="44831"/>
            <a:chExt cx="2820005" cy="668040"/>
          </a:xfrm>
        </p:grpSpPr>
        <p:pic>
          <p:nvPicPr>
            <p:cNvPr id="25" name="Рисунок 24">
              <a:extLst>
                <a:ext uri="{FF2B5EF4-FFF2-40B4-BE49-F238E27FC236}">
                  <a16:creationId xmlns:a16="http://schemas.microsoft.com/office/drawing/2014/main" id="{9FBC346F-479B-4113-9D43-35F85BD2D10E}"/>
                </a:ext>
              </a:extLst>
            </p:cNvPr>
            <p:cNvPicPr>
              <a:picLocks noChangeAspect="1"/>
            </p:cNvPicPr>
            <p:nvPr>
              <p:custDataLst>
                <p:custData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96096" y="44831"/>
              <a:ext cx="2820005" cy="668040"/>
            </a:xfrm>
            <a:prstGeom prst="rect">
              <a:avLst/>
            </a:prstGeom>
          </p:spPr>
        </p:pic>
        <p:sp>
          <p:nvSpPr>
            <p:cNvPr id="6" name="Прямоугольник 5">
              <a:extLst>
                <a:ext uri="{FF2B5EF4-FFF2-40B4-BE49-F238E27FC236}">
                  <a16:creationId xmlns:a16="http://schemas.microsoft.com/office/drawing/2014/main" id="{C6A16946-3E49-41B7-B835-718DD62B3ADF}"/>
                </a:ext>
              </a:extLst>
            </p:cNvPr>
            <p:cNvSpPr/>
            <p:nvPr/>
          </p:nvSpPr>
          <p:spPr>
            <a:xfrm>
              <a:off x="11148865" y="471489"/>
              <a:ext cx="920079" cy="16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9" name="Прямоугольник 28">
            <a:extLst>
              <a:ext uri="{FF2B5EF4-FFF2-40B4-BE49-F238E27FC236}">
                <a16:creationId xmlns:a16="http://schemas.microsoft.com/office/drawing/2014/main" id="{DC77903F-9882-4466-B7C8-9DE864C2E167}"/>
              </a:ext>
            </a:extLst>
          </p:cNvPr>
          <p:cNvSpPr/>
          <p:nvPr/>
        </p:nvSpPr>
        <p:spPr>
          <a:xfrm>
            <a:off x="266723" y="6515992"/>
            <a:ext cx="11517309" cy="3420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TextBox 30">
            <a:extLst>
              <a:ext uri="{FF2B5EF4-FFF2-40B4-BE49-F238E27FC236}">
                <a16:creationId xmlns:a16="http://schemas.microsoft.com/office/drawing/2014/main" id="{FECC0AC8-F707-44CD-97AC-8634089A553E}"/>
              </a:ext>
            </a:extLst>
          </p:cNvPr>
          <p:cNvSpPr txBox="1"/>
          <p:nvPr/>
        </p:nvSpPr>
        <p:spPr>
          <a:xfrm>
            <a:off x="266724" y="6556822"/>
            <a:ext cx="11455177" cy="246221"/>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Source: national statistics &amp; central banks </a:t>
            </a:r>
            <a:endParaRPr lang="ru-R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Прямоугольник 34">
            <a:extLst>
              <a:ext uri="{FF2B5EF4-FFF2-40B4-BE49-F238E27FC236}">
                <a16:creationId xmlns:a16="http://schemas.microsoft.com/office/drawing/2014/main" id="{6141E274-1473-4A7B-A71B-DB3BDE9BE511}"/>
              </a:ext>
            </a:extLst>
          </p:cNvPr>
          <p:cNvSpPr/>
          <p:nvPr/>
        </p:nvSpPr>
        <p:spPr>
          <a:xfrm>
            <a:off x="266723" y="766061"/>
            <a:ext cx="4758582"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Inflation rate in major developed economies</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Прямоугольник 7">
            <a:extLst>
              <a:ext uri="{FF2B5EF4-FFF2-40B4-BE49-F238E27FC236}">
                <a16:creationId xmlns:a16="http://schemas.microsoft.com/office/drawing/2014/main" id="{D37AB775-596C-110A-7021-1F1786C23AC2}"/>
              </a:ext>
            </a:extLst>
          </p:cNvPr>
          <p:cNvSpPr/>
          <p:nvPr/>
        </p:nvSpPr>
        <p:spPr>
          <a:xfrm>
            <a:off x="6291005" y="766061"/>
            <a:ext cx="4758582" cy="276999"/>
          </a:xfrm>
          <a:prstGeom prst="rect">
            <a:avLst/>
          </a:prstGeom>
        </p:spPr>
        <p:txBody>
          <a:bodyPr wrap="square">
            <a:spAutoFit/>
          </a:bodyPr>
          <a:lstStyle/>
          <a:p>
            <a:r>
              <a:rPr lang="en-US" sz="12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Inflation rate in major developing economies</a:t>
            </a:r>
            <a:endParaRPr lang="ru-RU" sz="12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 name="Диаграмма 2">
            <a:extLst>
              <a:ext uri="{FF2B5EF4-FFF2-40B4-BE49-F238E27FC236}">
                <a16:creationId xmlns:a16="http://schemas.microsoft.com/office/drawing/2014/main" id="{4BDCB1B8-CEC9-C5CE-2BA1-0A6286442A63}"/>
              </a:ext>
            </a:extLst>
          </p:cNvPr>
          <p:cNvGraphicFramePr>
            <a:graphicFrameLocks/>
          </p:cNvGraphicFramePr>
          <p:nvPr>
            <p:extLst>
              <p:ext uri="{D42A27DB-BD31-4B8C-83A1-F6EECF244321}">
                <p14:modId xmlns:p14="http://schemas.microsoft.com/office/powerpoint/2010/main" val="1184392044"/>
              </p:ext>
            </p:extLst>
          </p:nvPr>
        </p:nvGraphicFramePr>
        <p:xfrm>
          <a:off x="336000" y="1052043"/>
          <a:ext cx="5760000" cy="4680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0" name="Диаграмма 9">
            <a:extLst>
              <a:ext uri="{FF2B5EF4-FFF2-40B4-BE49-F238E27FC236}">
                <a16:creationId xmlns:a16="http://schemas.microsoft.com/office/drawing/2014/main" id="{5A3B984A-A743-465A-A90C-3621CF1EBF7D}"/>
              </a:ext>
            </a:extLst>
          </p:cNvPr>
          <p:cNvGraphicFramePr>
            <a:graphicFrameLocks/>
          </p:cNvGraphicFramePr>
          <p:nvPr>
            <p:extLst>
              <p:ext uri="{D42A27DB-BD31-4B8C-83A1-F6EECF244321}">
                <p14:modId xmlns:p14="http://schemas.microsoft.com/office/powerpoint/2010/main" val="3867680103"/>
              </p:ext>
            </p:extLst>
          </p:nvPr>
        </p:nvGraphicFramePr>
        <p:xfrm>
          <a:off x="6432000" y="1052043"/>
          <a:ext cx="5760000" cy="4680000"/>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279630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nvPr>
        </p:nvGraphicFramePr>
        <p:xfrm>
          <a:off x="-1522412"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4" name="Объект 3" hidden="1"/>
                      <p:cNvPicPr/>
                      <p:nvPr/>
                    </p:nvPicPr>
                    <p:blipFill>
                      <a:blip r:embed="rId9"/>
                      <a:stretch>
                        <a:fillRect/>
                      </a:stretch>
                    </p:blipFill>
                    <p:spPr>
                      <a:xfrm>
                        <a:off x="-1522412" y="1588"/>
                        <a:ext cx="1588" cy="1588"/>
                      </a:xfrm>
                      <a:prstGeom prst="rect">
                        <a:avLst/>
                      </a:prstGeom>
                    </p:spPr>
                  </p:pic>
                </p:oleObj>
              </mc:Fallback>
            </mc:AlternateContent>
          </a:graphicData>
        </a:graphic>
      </p:graphicFrame>
      <p:sp>
        <p:nvSpPr>
          <p:cNvPr id="2" name="Прямоугольник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ru-RU" sz="900" dirty="0">
              <a:sym typeface="+mn-lt"/>
            </a:endParaRPr>
          </a:p>
        </p:txBody>
      </p:sp>
      <p:sp>
        <p:nvSpPr>
          <p:cNvPr id="161" name="Текст 2"/>
          <p:cNvSpPr>
            <a:spLocks noGrp="1"/>
          </p:cNvSpPr>
          <p:nvPr>
            <p:custDataLst>
              <p:tags r:id="rId3"/>
            </p:custDataLst>
          </p:nvPr>
        </p:nvSpPr>
        <p:spPr bwMode="auto">
          <a:xfrm>
            <a:off x="5025305"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9" name="Текст 2"/>
          <p:cNvSpPr>
            <a:spLocks noGrp="1"/>
          </p:cNvSpPr>
          <p:nvPr>
            <p:custDataLst>
              <p:tags r:id="rId4"/>
            </p:custDataLst>
          </p:nvPr>
        </p:nvSpPr>
        <p:spPr bwMode="auto">
          <a:xfrm>
            <a:off x="6912843" y="5963042"/>
            <a:ext cx="34925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ru-RU" sz="1100" dirty="0">
              <a:latin typeface="Open Sans" panose="020B0606030504020204" pitchFamily="34" charset="0"/>
              <a:ea typeface="Open Sans" panose="020B0606030504020204" pitchFamily="34" charset="0"/>
              <a:cs typeface="Open Sans" panose="020B0606030504020204" pitchFamily="34" charset="0"/>
              <a:sym typeface="+mn-lt"/>
            </a:endParaRPr>
          </a:p>
        </p:txBody>
      </p:sp>
      <p:sp>
        <p:nvSpPr>
          <p:cNvPr id="150" name="TextBox 149"/>
          <p:cNvSpPr txBox="1"/>
          <p:nvPr/>
        </p:nvSpPr>
        <p:spPr>
          <a:xfrm>
            <a:off x="180994" y="214799"/>
            <a:ext cx="9997336" cy="584775"/>
          </a:xfrm>
          <a:prstGeom prst="rect">
            <a:avLst/>
          </a:prstGeom>
          <a:noFill/>
        </p:spPr>
        <p:txBody>
          <a:bodyPr wrap="square" rtlCol="0">
            <a:spAutoFit/>
          </a:bodyPr>
          <a:lstStyle/>
          <a:p>
            <a:r>
              <a:rPr lang="en-US" sz="3200" b="1" dirty="0">
                <a:solidFill>
                  <a:srgbClr val="0264A6"/>
                </a:solidFill>
                <a:latin typeface="Gilroy SemiBold" panose="00000700000000000000" pitchFamily="2" charset="-52"/>
                <a:ea typeface="+mj-ea"/>
                <a:cs typeface="Arial" panose="020B0604020202020204" pitchFamily="34" charset="0"/>
              </a:rPr>
              <a:t>Soft landing is the probable outcome, but …  </a:t>
            </a:r>
            <a:endParaRPr lang="ru-RU" sz="3200" b="1" dirty="0">
              <a:solidFill>
                <a:srgbClr val="0264A6"/>
              </a:solidFill>
              <a:latin typeface="Gilroy SemiBold" panose="00000700000000000000" pitchFamily="2" charset="-52"/>
              <a:ea typeface="+mj-ea"/>
              <a:cs typeface="Arial" panose="020B0604020202020204" pitchFamily="34" charset="0"/>
            </a:endParaRPr>
          </a:p>
        </p:txBody>
      </p:sp>
      <p:sp>
        <p:nvSpPr>
          <p:cNvPr id="28" name="Номер слайда 19"/>
          <p:cNvSpPr>
            <a:spLocks noGrp="1"/>
          </p:cNvSpPr>
          <p:nvPr>
            <p:ph type="sldNum" sz="quarter" idx="12"/>
          </p:nvPr>
        </p:nvSpPr>
        <p:spPr>
          <a:xfrm>
            <a:off x="11721901" y="6346024"/>
            <a:ext cx="268268" cy="348543"/>
          </a:xfrm>
        </p:spPr>
        <p:txBody>
          <a:bodyPr/>
          <a:lstStyle/>
          <a:p>
            <a:r>
              <a:rPr lang="en-US" sz="800" dirty="0">
                <a:latin typeface="Open Sans" panose="020B0606030504020204" pitchFamily="34" charset="0"/>
                <a:ea typeface="Open Sans" panose="020B0606030504020204" pitchFamily="34" charset="0"/>
                <a:cs typeface="Open Sans" panose="020B0606030504020204" pitchFamily="34" charset="0"/>
              </a:rPr>
              <a:t>3</a:t>
            </a:r>
            <a:endParaRPr lang="ru-RU" sz="8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Группа 6">
            <a:extLst>
              <a:ext uri="{FF2B5EF4-FFF2-40B4-BE49-F238E27FC236}">
                <a16:creationId xmlns:a16="http://schemas.microsoft.com/office/drawing/2014/main" id="{BBBD4993-86B1-4875-B96A-2FA2CF99D89C}"/>
              </a:ext>
            </a:extLst>
          </p:cNvPr>
          <p:cNvGrpSpPr/>
          <p:nvPr/>
        </p:nvGrpSpPr>
        <p:grpSpPr>
          <a:xfrm>
            <a:off x="9758363" y="44831"/>
            <a:ext cx="2386012" cy="584775"/>
            <a:chOff x="9296096" y="44831"/>
            <a:chExt cx="2820005" cy="668040"/>
          </a:xfrm>
        </p:grpSpPr>
        <p:pic>
          <p:nvPicPr>
            <p:cNvPr id="25" name="Рисунок 24">
              <a:extLst>
                <a:ext uri="{FF2B5EF4-FFF2-40B4-BE49-F238E27FC236}">
                  <a16:creationId xmlns:a16="http://schemas.microsoft.com/office/drawing/2014/main" id="{9FBC346F-479B-4113-9D43-35F85BD2D10E}"/>
                </a:ext>
              </a:extLst>
            </p:cNvPr>
            <p:cNvPicPr>
              <a:picLocks noChangeAspect="1"/>
            </p:cNvPicPr>
            <p:nvPr>
              <p:custDataLst>
                <p:custData r:id="rId5"/>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96096" y="44831"/>
              <a:ext cx="2820005" cy="668040"/>
            </a:xfrm>
            <a:prstGeom prst="rect">
              <a:avLst/>
            </a:prstGeom>
          </p:spPr>
        </p:pic>
        <p:sp>
          <p:nvSpPr>
            <p:cNvPr id="6" name="Прямоугольник 5">
              <a:extLst>
                <a:ext uri="{FF2B5EF4-FFF2-40B4-BE49-F238E27FC236}">
                  <a16:creationId xmlns:a16="http://schemas.microsoft.com/office/drawing/2014/main" id="{C6A16946-3E49-41B7-B835-718DD62B3ADF}"/>
                </a:ext>
              </a:extLst>
            </p:cNvPr>
            <p:cNvSpPr/>
            <p:nvPr/>
          </p:nvSpPr>
          <p:spPr>
            <a:xfrm>
              <a:off x="11148865" y="471489"/>
              <a:ext cx="920079" cy="16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9" name="Прямоугольник 28">
            <a:extLst>
              <a:ext uri="{FF2B5EF4-FFF2-40B4-BE49-F238E27FC236}">
                <a16:creationId xmlns:a16="http://schemas.microsoft.com/office/drawing/2014/main" id="{DC77903F-9882-4466-B7C8-9DE864C2E167}"/>
              </a:ext>
            </a:extLst>
          </p:cNvPr>
          <p:cNvSpPr/>
          <p:nvPr/>
        </p:nvSpPr>
        <p:spPr>
          <a:xfrm>
            <a:off x="266723" y="6257580"/>
            <a:ext cx="11517309" cy="60042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TextBox 30">
            <a:extLst>
              <a:ext uri="{FF2B5EF4-FFF2-40B4-BE49-F238E27FC236}">
                <a16:creationId xmlns:a16="http://schemas.microsoft.com/office/drawing/2014/main" id="{FECC0AC8-F707-44CD-97AC-8634089A553E}"/>
              </a:ext>
            </a:extLst>
          </p:cNvPr>
          <p:cNvSpPr txBox="1"/>
          <p:nvPr/>
        </p:nvSpPr>
        <p:spPr>
          <a:xfrm>
            <a:off x="266724" y="6286412"/>
            <a:ext cx="11455177" cy="246221"/>
          </a:xfrm>
          <a:prstGeom prst="rect">
            <a:avLst/>
          </a:prstGeom>
          <a:noFill/>
        </p:spPr>
        <p:txBody>
          <a:bodyPr wrap="square">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Source: Apollo, FRED, IMF</a:t>
            </a:r>
            <a:endParaRPr lang="ru-RU"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Прямоугольник 20">
            <a:extLst>
              <a:ext uri="{FF2B5EF4-FFF2-40B4-BE49-F238E27FC236}">
                <a16:creationId xmlns:a16="http://schemas.microsoft.com/office/drawing/2014/main" id="{BF70627A-55C8-432C-B24D-1CE14DDE528C}"/>
              </a:ext>
            </a:extLst>
          </p:cNvPr>
          <p:cNvSpPr/>
          <p:nvPr/>
        </p:nvSpPr>
        <p:spPr>
          <a:xfrm>
            <a:off x="266723" y="1185920"/>
            <a:ext cx="5608297" cy="307777"/>
          </a:xfrm>
          <a:prstGeom prst="rect">
            <a:avLst/>
          </a:prstGeom>
        </p:spPr>
        <p:txBody>
          <a:bodyPr wrap="square">
            <a:spAutoFit/>
          </a:bodyPr>
          <a:lstStyle/>
          <a:p>
            <a:r>
              <a:rPr lang="en-US" sz="14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China real estate sector (25% of GDP) in in deep recession</a:t>
            </a:r>
            <a:endParaRPr lang="ru-RU" sz="14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Прямоугольник 22">
            <a:extLst>
              <a:ext uri="{FF2B5EF4-FFF2-40B4-BE49-F238E27FC236}">
                <a16:creationId xmlns:a16="http://schemas.microsoft.com/office/drawing/2014/main" id="{9961950F-7A99-4F97-854E-19B23CB51E20}"/>
              </a:ext>
            </a:extLst>
          </p:cNvPr>
          <p:cNvSpPr/>
          <p:nvPr/>
        </p:nvSpPr>
        <p:spPr>
          <a:xfrm>
            <a:off x="6165277" y="1185920"/>
            <a:ext cx="5608297" cy="307777"/>
          </a:xfrm>
          <a:prstGeom prst="rect">
            <a:avLst/>
          </a:prstGeom>
        </p:spPr>
        <p:txBody>
          <a:bodyPr wrap="square">
            <a:spAutoFit/>
          </a:bodyPr>
          <a:lstStyle/>
          <a:p>
            <a:r>
              <a:rPr lang="en-US" sz="14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Higher interest rates increase the debt service burden</a:t>
            </a:r>
            <a:endParaRPr lang="ru-RU" sz="14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 name="Рисунок 8">
            <a:extLst>
              <a:ext uri="{FF2B5EF4-FFF2-40B4-BE49-F238E27FC236}">
                <a16:creationId xmlns:a16="http://schemas.microsoft.com/office/drawing/2014/main" id="{01863B38-23FE-5099-DFE9-82BCDC5FF2F5}"/>
              </a:ext>
            </a:extLst>
          </p:cNvPr>
          <p:cNvPicPr>
            <a:picLocks noChangeAspect="1"/>
          </p:cNvPicPr>
          <p:nvPr/>
        </p:nvPicPr>
        <p:blipFill>
          <a:blip r:embed="rId12"/>
          <a:stretch>
            <a:fillRect/>
          </a:stretch>
        </p:blipFill>
        <p:spPr>
          <a:xfrm>
            <a:off x="274794" y="1460567"/>
            <a:ext cx="5304372" cy="2127891"/>
          </a:xfrm>
          <a:prstGeom prst="rect">
            <a:avLst/>
          </a:prstGeom>
        </p:spPr>
      </p:pic>
      <p:pic>
        <p:nvPicPr>
          <p:cNvPr id="11" name="Рисунок 10">
            <a:extLst>
              <a:ext uri="{FF2B5EF4-FFF2-40B4-BE49-F238E27FC236}">
                <a16:creationId xmlns:a16="http://schemas.microsoft.com/office/drawing/2014/main" id="{ED278BE6-F291-08D3-68AB-AB65C3933781}"/>
              </a:ext>
            </a:extLst>
          </p:cNvPr>
          <p:cNvPicPr>
            <a:picLocks noChangeAspect="1"/>
          </p:cNvPicPr>
          <p:nvPr/>
        </p:nvPicPr>
        <p:blipFill>
          <a:blip r:embed="rId13"/>
          <a:stretch>
            <a:fillRect/>
          </a:stretch>
        </p:blipFill>
        <p:spPr>
          <a:xfrm>
            <a:off x="5769894" y="1460567"/>
            <a:ext cx="5304372" cy="2398162"/>
          </a:xfrm>
          <a:prstGeom prst="rect">
            <a:avLst/>
          </a:prstGeom>
        </p:spPr>
      </p:pic>
      <p:graphicFrame>
        <p:nvGraphicFramePr>
          <p:cNvPr id="13" name="Диаграмма 12">
            <a:extLst>
              <a:ext uri="{FF2B5EF4-FFF2-40B4-BE49-F238E27FC236}">
                <a16:creationId xmlns:a16="http://schemas.microsoft.com/office/drawing/2014/main" id="{36D11485-3A27-09D3-B8D9-204D4924FF9C}"/>
              </a:ext>
            </a:extLst>
          </p:cNvPr>
          <p:cNvGraphicFramePr>
            <a:graphicFrameLocks/>
          </p:cNvGraphicFramePr>
          <p:nvPr>
            <p:extLst>
              <p:ext uri="{D42A27DB-BD31-4B8C-83A1-F6EECF244321}">
                <p14:modId xmlns:p14="http://schemas.microsoft.com/office/powerpoint/2010/main" val="688639278"/>
              </p:ext>
            </p:extLst>
          </p:nvPr>
        </p:nvGraphicFramePr>
        <p:xfrm>
          <a:off x="264273" y="4111996"/>
          <a:ext cx="5400000" cy="2160000"/>
        </p:xfrm>
        <a:graphic>
          <a:graphicData uri="http://schemas.openxmlformats.org/drawingml/2006/chart">
            <c:chart xmlns:c="http://schemas.openxmlformats.org/drawingml/2006/chart" xmlns:r="http://schemas.openxmlformats.org/officeDocument/2006/relationships" r:id="rId14"/>
          </a:graphicData>
        </a:graphic>
      </p:graphicFrame>
      <p:sp>
        <p:nvSpPr>
          <p:cNvPr id="14" name="Прямоугольник 13">
            <a:extLst>
              <a:ext uri="{FF2B5EF4-FFF2-40B4-BE49-F238E27FC236}">
                <a16:creationId xmlns:a16="http://schemas.microsoft.com/office/drawing/2014/main" id="{6CBCCA99-FF7E-621F-D020-291C9C5A452F}"/>
              </a:ext>
            </a:extLst>
          </p:cNvPr>
          <p:cNvSpPr/>
          <p:nvPr/>
        </p:nvSpPr>
        <p:spPr>
          <a:xfrm>
            <a:off x="266723" y="3786629"/>
            <a:ext cx="5608297" cy="307777"/>
          </a:xfrm>
          <a:prstGeom prst="rect">
            <a:avLst/>
          </a:prstGeom>
        </p:spPr>
        <p:txBody>
          <a:bodyPr wrap="square">
            <a:spAutoFit/>
          </a:bodyPr>
          <a:lstStyle/>
          <a:p>
            <a:r>
              <a:rPr lang="en-US" sz="14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The US fiscal deficit remains large and must be cut </a:t>
            </a:r>
            <a:endParaRPr lang="ru-RU" sz="14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Прямоугольник 14">
            <a:extLst>
              <a:ext uri="{FF2B5EF4-FFF2-40B4-BE49-F238E27FC236}">
                <a16:creationId xmlns:a16="http://schemas.microsoft.com/office/drawing/2014/main" id="{553925AC-0998-AC8A-4E46-48ADCA76C0BD}"/>
              </a:ext>
            </a:extLst>
          </p:cNvPr>
          <p:cNvSpPr/>
          <p:nvPr/>
        </p:nvSpPr>
        <p:spPr>
          <a:xfrm>
            <a:off x="5875020" y="3786629"/>
            <a:ext cx="6316980" cy="307777"/>
          </a:xfrm>
          <a:prstGeom prst="rect">
            <a:avLst/>
          </a:prstGeom>
        </p:spPr>
        <p:txBody>
          <a:bodyPr wrap="square">
            <a:spAutoFit/>
          </a:bodyPr>
          <a:lstStyle/>
          <a:p>
            <a:r>
              <a:rPr lang="en-US" sz="1400" b="1" dirty="0">
                <a:solidFill>
                  <a:srgbClr val="0C1460"/>
                </a:solidFill>
                <a:latin typeface="Open Sans" panose="020B0606030504020204" pitchFamily="34" charset="0"/>
                <a:ea typeface="Open Sans" panose="020B0606030504020204" pitchFamily="34" charset="0"/>
                <a:cs typeface="Open Sans" panose="020B0606030504020204" pitchFamily="34" charset="0"/>
              </a:rPr>
              <a:t>Fragmentation of global markets is a risk, especially in commodities</a:t>
            </a:r>
            <a:endParaRPr lang="ru-RU" sz="1400" b="1" dirty="0">
              <a:solidFill>
                <a:srgbClr val="0C1460"/>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Диаграмма 15">
            <a:extLst>
              <a:ext uri="{FF2B5EF4-FFF2-40B4-BE49-F238E27FC236}">
                <a16:creationId xmlns:a16="http://schemas.microsoft.com/office/drawing/2014/main" id="{26EA744C-FBDB-37D8-5D35-9F5084EC6761}"/>
              </a:ext>
            </a:extLst>
          </p:cNvPr>
          <p:cNvGraphicFramePr>
            <a:graphicFrameLocks/>
          </p:cNvGraphicFramePr>
          <p:nvPr>
            <p:extLst>
              <p:ext uri="{D42A27DB-BD31-4B8C-83A1-F6EECF244321}">
                <p14:modId xmlns:p14="http://schemas.microsoft.com/office/powerpoint/2010/main" val="3336712103"/>
              </p:ext>
            </p:extLst>
          </p:nvPr>
        </p:nvGraphicFramePr>
        <p:xfrm>
          <a:off x="5979168" y="4111996"/>
          <a:ext cx="5400000" cy="21600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0101099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VspdgxJcULPWKRoXmPp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ZEHBR11ghq70IA2u1zW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tKedP.F3XLFc5ifLhMt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VspdgxJcULPWKRoXmPp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ZEHBR11ghq70IA2u1zW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tKedP.F3XLFc5ifLhMt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spdgxJcULPWKRoXmPp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ZEHBR11ghq70IA2u1zW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VspdgxJcULPWKRoXmPpd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tKedP.F3XLFc5ifLhMt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spdgxJcULPWKRoXmPp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ZEHBR11ghq70IA2u1zW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tKedP.F3XLFc5ifLhMt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VspdgxJcULPWKRoXmPp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ZEHBR11ghq70IA2u1zW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tKedP.F3XLFc5ifLhMt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ZEHBR11ghq70IA2u1zW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tKedP.F3XLFc5ifLhMt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spdgxJcULPWKRoXmPp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ZEHBR11ghq70IA2u1zW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tKedP.F3XLFc5ifLhMt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eb91fb5b-d0fe-471e-adf4-cc3e59d481f6" Revision="1" Stencil="System.MyShapes" StencilVersion="1.0"/>
</Control>
</file>

<file path=customXml/item2.xml><?xml version="1.0" encoding="utf-8"?>
<Control xmlns="http://schemas.microsoft.com/VisualStudio/2011/storyboarding/control">
  <Id Name="eb91fb5b-d0fe-471e-adf4-cc3e59d481f6" Revision="1" Stencil="System.MyShapes" StencilVersion="1.0"/>
</Control>
</file>

<file path=customXml/item3.xml><?xml version="1.0" encoding="utf-8"?>
<Control xmlns="http://schemas.microsoft.com/VisualStudio/2011/storyboarding/control">
  <Id Name="eb91fb5b-d0fe-471e-adf4-cc3e59d481f6" Revision="1" Stencil="System.MyShapes" StencilVersion="1.0"/>
</Control>
</file>

<file path=customXml/item4.xml><?xml version="1.0" encoding="utf-8"?>
<Control xmlns="http://schemas.microsoft.com/VisualStudio/2011/storyboarding/control">
  <Id Name="eb91fb5b-d0fe-471e-adf4-cc3e59d481f6" Revision="1" Stencil="System.MyShapes" StencilVersion="1.0"/>
</Control>
</file>

<file path=customXml/item5.xml><?xml version="1.0" encoding="utf-8"?>
<Control xmlns="http://schemas.microsoft.com/VisualStudio/2011/storyboarding/control">
  <Id Name="eb91fb5b-d0fe-471e-adf4-cc3e59d481f6" Revision="1" Stencil="System.MyShapes" StencilVersion="1.0"/>
</Control>
</file>

<file path=customXml/item6.xml><?xml version="1.0" encoding="utf-8"?>
<Control xmlns="http://schemas.microsoft.com/VisualStudio/2011/storyboarding/control">
  <Id Name="eb91fb5b-d0fe-471e-adf4-cc3e59d481f6" Revision="1" Stencil="System.MyShapes" StencilVersion="1.0"/>
</Control>
</file>

<file path=customXml/item7.xml><?xml version="1.0" encoding="utf-8"?>
<Control xmlns="http://schemas.microsoft.com/VisualStudio/2011/storyboarding/control">
  <Id Name="eb91fb5b-d0fe-471e-adf4-cc3e59d481f6" Revision="1" Stencil="System.MyShapes" StencilVersion="1.0"/>
</Control>
</file>

<file path=customXml/item8.xml><?xml version="1.0" encoding="utf-8"?>
<Control xmlns="http://schemas.microsoft.com/VisualStudio/2011/storyboarding/control">
  <Id Name="eb91fb5b-d0fe-471e-adf4-cc3e59d481f6" Revision="1" Stencil="System.MyShapes" StencilVersion="1.0"/>
</Control>
</file>

<file path=customXml/item9.xml><?xml version="1.0" encoding="utf-8"?>
<Control xmlns="http://schemas.microsoft.com/VisualStudio/2011/storyboarding/control">
  <Id Name="eb91fb5b-d0fe-471e-adf4-cc3e59d481f6" Revision="1" Stencil="System.MyShapes" StencilVersion="1.0"/>
</Control>
</file>

<file path=customXml/itemProps1.xml><?xml version="1.0" encoding="utf-8"?>
<ds:datastoreItem xmlns:ds="http://schemas.openxmlformats.org/officeDocument/2006/customXml" ds:itemID="{86D0C870-2A8D-4E6D-B4C2-1DAE4AEF8F56}">
  <ds:schemaRefs>
    <ds:schemaRef ds:uri="http://schemas.microsoft.com/VisualStudio/2011/storyboarding/control"/>
  </ds:schemaRefs>
</ds:datastoreItem>
</file>

<file path=customXml/itemProps2.xml><?xml version="1.0" encoding="utf-8"?>
<ds:datastoreItem xmlns:ds="http://schemas.openxmlformats.org/officeDocument/2006/customXml" ds:itemID="{CEA6B680-E375-4C4B-8A2C-E787117250FC}">
  <ds:schemaRefs>
    <ds:schemaRef ds:uri="http://schemas.microsoft.com/VisualStudio/2011/storyboarding/control"/>
  </ds:schemaRefs>
</ds:datastoreItem>
</file>

<file path=customXml/itemProps3.xml><?xml version="1.0" encoding="utf-8"?>
<ds:datastoreItem xmlns:ds="http://schemas.openxmlformats.org/officeDocument/2006/customXml" ds:itemID="{B62DA8D5-7D5B-4CBC-87D6-12760C32BBF9}">
  <ds:schemaRefs>
    <ds:schemaRef ds:uri="http://schemas.microsoft.com/VisualStudio/2011/storyboarding/control"/>
  </ds:schemaRefs>
</ds:datastoreItem>
</file>

<file path=customXml/itemProps4.xml><?xml version="1.0" encoding="utf-8"?>
<ds:datastoreItem xmlns:ds="http://schemas.openxmlformats.org/officeDocument/2006/customXml" ds:itemID="{9790DE4F-BD6E-4415-8EA9-219CF9FBDA98}">
  <ds:schemaRefs>
    <ds:schemaRef ds:uri="http://schemas.microsoft.com/VisualStudio/2011/storyboarding/control"/>
  </ds:schemaRefs>
</ds:datastoreItem>
</file>

<file path=customXml/itemProps5.xml><?xml version="1.0" encoding="utf-8"?>
<ds:datastoreItem xmlns:ds="http://schemas.openxmlformats.org/officeDocument/2006/customXml" ds:itemID="{45A3C161-556B-45F2-8C21-FAA4E9AD65F0}">
  <ds:schemaRefs>
    <ds:schemaRef ds:uri="http://schemas.microsoft.com/VisualStudio/2011/storyboarding/control"/>
  </ds:schemaRefs>
</ds:datastoreItem>
</file>

<file path=customXml/itemProps6.xml><?xml version="1.0" encoding="utf-8"?>
<ds:datastoreItem xmlns:ds="http://schemas.openxmlformats.org/officeDocument/2006/customXml" ds:itemID="{C8FF7930-1237-486F-9EA2-E71BA8178841}">
  <ds:schemaRefs>
    <ds:schemaRef ds:uri="http://schemas.microsoft.com/VisualStudio/2011/storyboarding/control"/>
  </ds:schemaRefs>
</ds:datastoreItem>
</file>

<file path=customXml/itemProps7.xml><?xml version="1.0" encoding="utf-8"?>
<ds:datastoreItem xmlns:ds="http://schemas.openxmlformats.org/officeDocument/2006/customXml" ds:itemID="{0E05FCD2-231F-4D56-8177-B190967573AD}">
  <ds:schemaRefs>
    <ds:schemaRef ds:uri="http://schemas.microsoft.com/VisualStudio/2011/storyboarding/control"/>
  </ds:schemaRefs>
</ds:datastoreItem>
</file>

<file path=customXml/itemProps8.xml><?xml version="1.0" encoding="utf-8"?>
<ds:datastoreItem xmlns:ds="http://schemas.openxmlformats.org/officeDocument/2006/customXml" ds:itemID="{29274EAB-D1BA-473B-BF11-EB49001A4EAB}">
  <ds:schemaRefs>
    <ds:schemaRef ds:uri="http://schemas.microsoft.com/VisualStudio/2011/storyboarding/control"/>
  </ds:schemaRefs>
</ds:datastoreItem>
</file>

<file path=customXml/itemProps9.xml><?xml version="1.0" encoding="utf-8"?>
<ds:datastoreItem xmlns:ds="http://schemas.openxmlformats.org/officeDocument/2006/customXml" ds:itemID="{FDDB7F27-2295-4F86-90E4-4BBA34AEED60}">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otalTime>3508</TotalTime>
  <Words>690</Words>
  <Application>Microsoft Office PowerPoint</Application>
  <PresentationFormat>Широкоэкранный</PresentationFormat>
  <Paragraphs>89</Paragraphs>
  <Slides>8</Slides>
  <Notes>8</Notes>
  <HiddenSlides>0</HiddenSlides>
  <MMClips>0</MMClips>
  <ScaleCrop>false</ScaleCrop>
  <HeadingPairs>
    <vt:vector size="8" baseType="variant">
      <vt:variant>
        <vt:lpstr>Использованные шрифты</vt:lpstr>
      </vt:variant>
      <vt:variant>
        <vt:i4>9</vt:i4>
      </vt:variant>
      <vt:variant>
        <vt:lpstr>Тема</vt:lpstr>
      </vt:variant>
      <vt:variant>
        <vt:i4>1</vt:i4>
      </vt:variant>
      <vt:variant>
        <vt:lpstr>Внедренные серверы OLE</vt:lpstr>
      </vt:variant>
      <vt:variant>
        <vt:i4>1</vt:i4>
      </vt:variant>
      <vt:variant>
        <vt:lpstr>Заголовки слайдов</vt:lpstr>
      </vt:variant>
      <vt:variant>
        <vt:i4>8</vt:i4>
      </vt:variant>
    </vt:vector>
  </HeadingPairs>
  <TitlesOfParts>
    <vt:vector size="19" baseType="lpstr">
      <vt:lpstr>Gilroy</vt:lpstr>
      <vt:lpstr>Gilroy SemiBold</vt:lpstr>
      <vt:lpstr>Graphik Web</vt:lpstr>
      <vt:lpstr>HSE Slab</vt:lpstr>
      <vt:lpstr>Arial</vt:lpstr>
      <vt:lpstr>Arial Cyr</vt:lpstr>
      <vt:lpstr>Calibri</vt:lpstr>
      <vt:lpstr>Calibri Light</vt:lpstr>
      <vt:lpstr>Open Sans</vt:lpstr>
      <vt:lpstr>Тема Office</vt:lpstr>
      <vt:lpstr>Слайд think-cell</vt:lpstr>
      <vt:lpstr>BETWEEN INFLATION, FINANCIAL INSTABILITY AND DEBT:  THE PATTERNS OF ECONOMIC GROWTH IN THE POST-CRISIS WORLD</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Изменение спроса на жидкие углеводороды:  Энергетический переход и COVID-19</dc:title>
  <dc:creator>Влад Базин</dc:creator>
  <cp:lastModifiedBy>Александра Дорина</cp:lastModifiedBy>
  <cp:revision>144</cp:revision>
  <cp:lastPrinted>2020-11-26T10:36:35Z</cp:lastPrinted>
  <dcterms:created xsi:type="dcterms:W3CDTF">2020-08-09T15:08:16Z</dcterms:created>
  <dcterms:modified xsi:type="dcterms:W3CDTF">2023-12-04T11:5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fs.IsStoryboard">
    <vt:bool>true</vt:bool>
  </property>
</Properties>
</file>